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4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5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6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823" r:id="rId4"/>
  </p:sldMasterIdLst>
  <p:notesMasterIdLst>
    <p:notesMasterId r:id="rId14"/>
  </p:notesMasterIdLst>
  <p:sldIdLst>
    <p:sldId id="256" r:id="rId5"/>
    <p:sldId id="1746" r:id="rId6"/>
    <p:sldId id="1755" r:id="rId7"/>
    <p:sldId id="1754" r:id="rId8"/>
    <p:sldId id="1756" r:id="rId9"/>
    <p:sldId id="1749" r:id="rId10"/>
    <p:sldId id="1750" r:id="rId11"/>
    <p:sldId id="1751" r:id="rId12"/>
    <p:sldId id="1752" r:id="rId13"/>
  </p:sldIdLst>
  <p:sldSz cx="9144000" cy="6858000" type="screen4x3"/>
  <p:notesSz cx="6858000" cy="9144000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FCFCF"/>
    <a:srgbClr val="F1F4F9"/>
    <a:srgbClr val="E8EDF4"/>
    <a:srgbClr val="C3CFE1"/>
    <a:srgbClr val="6F8DB9"/>
    <a:srgbClr val="4C6C9C"/>
    <a:srgbClr val="364D6E"/>
    <a:srgbClr val="E0E1DF"/>
    <a:srgbClr val="768CA8"/>
    <a:srgbClr val="0F1C4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29B740B-40F4-3049-9B8C-DD18277C1798}" v="1" dt="2020-09-09T09:17:38.879"/>
    <p1510:client id="{453FEB62-0FD6-9A2A-2D30-41ABD38C1D52}" v="1" dt="2020-09-09T08:33:30.401"/>
    <p1510:client id="{856BCB4F-057A-3956-8D5F-FE43E7437C52}" v="12" dt="2020-09-08T10:13:03.566"/>
    <p1510:client id="{B5D32430-059E-4DF7-8859-1F44D8161F85}" v="32" dt="2020-09-08T13:18:01.981"/>
    <p1510:client id="{B7D16AD9-F48A-8CC1-5E25-860F5698069B}" v="4" dt="2020-09-08T15:59:35.730"/>
    <p1510:client id="{D022EDA0-2955-8459-DC25-46CAF26BEA56}" v="19" dt="2020-09-08T10:22:38.856"/>
    <p1510:client id="{E1B91BE6-F446-E2CB-9AE7-62921F9743BC}" v="86" dt="2020-09-08T21:57:00.484"/>
    <p1510:client id="{E266E010-2334-4D23-B6AB-12B27501B916}" v="556" dt="2020-09-08T10:44:33.005"/>
    <p1510:client id="{F5F2E199-3F3B-2FC4-C7A0-9D5972C547CE}" v="313" dt="2020-09-09T09:16:02.71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1"/>
    <p:restoredTop sz="94694"/>
  </p:normalViewPr>
  <p:slideViewPr>
    <p:cSldViewPr snapToGrid="0">
      <p:cViewPr varScale="1">
        <p:scale>
          <a:sx n="121" d="100"/>
          <a:sy n="121" d="100"/>
        </p:scale>
        <p:origin x="1904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14D3833-35A9-8D45-B663-2DC451F545ED}" type="datetimeFigureOut">
              <a:rPr lang="en-US" smtClean="0"/>
              <a:t>9/9/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F88DC24-2F49-D341-B4F7-A1AAF364CBD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94734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0C3039-BC09-419F-85A3-73C183C30303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476435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88DC24-2F49-D341-B4F7-A1AAF364CBDD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77995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88DC24-2F49-D341-B4F7-A1AAF364CBDD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58112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88DC24-2F49-D341-B4F7-A1AAF364CBDD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343313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88DC24-2F49-D341-B4F7-A1AAF364CBDD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246924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88DC24-2F49-D341-B4F7-A1AAF364CBDD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268805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88DC24-2F49-D341-B4F7-A1AAF364CBDD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344711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0C3039-BC09-419F-85A3-73C183C30303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496548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03239" y="2598825"/>
            <a:ext cx="8137525" cy="1270535"/>
          </a:xfrm>
        </p:spPr>
        <p:txBody>
          <a:bodyPr anchor="b" anchorCtr="0"/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F49F45-EDDE-44FF-B850-C4E1AA2D5562}" type="datetime1">
              <a:rPr lang="en-GB" smtClean="0"/>
              <a:t>09/09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2020  |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CC7E1B-4CD5-4B27-B5EB-7981BC3B78B5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Freeform 5"/>
          <p:cNvSpPr>
            <a:spLocks noEditPoints="1"/>
          </p:cNvSpPr>
          <p:nvPr/>
        </p:nvSpPr>
        <p:spPr bwMode="auto">
          <a:xfrm>
            <a:off x="701677" y="430213"/>
            <a:ext cx="144463" cy="147638"/>
          </a:xfrm>
          <a:custGeom>
            <a:avLst/>
            <a:gdLst>
              <a:gd name="T0" fmla="*/ 181 w 361"/>
              <a:gd name="T1" fmla="*/ 0 h 366"/>
              <a:gd name="T2" fmla="*/ 0 w 361"/>
              <a:gd name="T3" fmla="*/ 184 h 366"/>
              <a:gd name="T4" fmla="*/ 180 w 361"/>
              <a:gd name="T5" fmla="*/ 366 h 366"/>
              <a:gd name="T6" fmla="*/ 361 w 361"/>
              <a:gd name="T7" fmla="*/ 183 h 366"/>
              <a:gd name="T8" fmla="*/ 181 w 361"/>
              <a:gd name="T9" fmla="*/ 0 h 366"/>
              <a:gd name="T10" fmla="*/ 312 w 361"/>
              <a:gd name="T11" fmla="*/ 184 h 366"/>
              <a:gd name="T12" fmla="*/ 181 w 361"/>
              <a:gd name="T13" fmla="*/ 322 h 366"/>
              <a:gd name="T14" fmla="*/ 48 w 361"/>
              <a:gd name="T15" fmla="*/ 183 h 366"/>
              <a:gd name="T16" fmla="*/ 180 w 361"/>
              <a:gd name="T17" fmla="*/ 44 h 366"/>
              <a:gd name="T18" fmla="*/ 312 w 361"/>
              <a:gd name="T19" fmla="*/ 184 h 3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61" h="366">
                <a:moveTo>
                  <a:pt x="181" y="0"/>
                </a:moveTo>
                <a:cubicBezTo>
                  <a:pt x="79" y="0"/>
                  <a:pt x="0" y="81"/>
                  <a:pt x="0" y="184"/>
                </a:cubicBezTo>
                <a:cubicBezTo>
                  <a:pt x="0" y="288"/>
                  <a:pt x="77" y="366"/>
                  <a:pt x="180" y="366"/>
                </a:cubicBezTo>
                <a:cubicBezTo>
                  <a:pt x="281" y="366"/>
                  <a:pt x="361" y="286"/>
                  <a:pt x="361" y="183"/>
                </a:cubicBezTo>
                <a:cubicBezTo>
                  <a:pt x="361" y="79"/>
                  <a:pt x="283" y="0"/>
                  <a:pt x="181" y="0"/>
                </a:cubicBezTo>
                <a:close/>
                <a:moveTo>
                  <a:pt x="312" y="184"/>
                </a:moveTo>
                <a:cubicBezTo>
                  <a:pt x="312" y="263"/>
                  <a:pt x="256" y="322"/>
                  <a:pt x="181" y="322"/>
                </a:cubicBezTo>
                <a:cubicBezTo>
                  <a:pt x="105" y="322"/>
                  <a:pt x="48" y="262"/>
                  <a:pt x="48" y="183"/>
                </a:cubicBezTo>
                <a:cubicBezTo>
                  <a:pt x="48" y="104"/>
                  <a:pt x="105" y="44"/>
                  <a:pt x="180" y="44"/>
                </a:cubicBezTo>
                <a:cubicBezTo>
                  <a:pt x="255" y="44"/>
                  <a:pt x="312" y="104"/>
                  <a:pt x="312" y="184"/>
                </a:cubicBezTo>
                <a:close/>
              </a:path>
            </a:pathLst>
          </a:custGeom>
          <a:solidFill>
            <a:srgbClr val="12224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>
              <a:solidFill>
                <a:schemeClr val="bg1"/>
              </a:solidFill>
            </a:endParaRPr>
          </a:p>
        </p:txBody>
      </p:sp>
      <p:sp>
        <p:nvSpPr>
          <p:cNvPr id="12" name="Rectangle 6"/>
          <p:cNvSpPr>
            <a:spLocks noChangeArrowheads="1"/>
          </p:cNvSpPr>
          <p:nvPr/>
        </p:nvSpPr>
        <p:spPr bwMode="auto">
          <a:xfrm>
            <a:off x="1265238" y="431801"/>
            <a:ext cx="19050" cy="142875"/>
          </a:xfrm>
          <a:prstGeom prst="rect">
            <a:avLst/>
          </a:prstGeom>
          <a:solidFill>
            <a:srgbClr val="12224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>
              <a:solidFill>
                <a:schemeClr val="bg1"/>
              </a:solidFill>
            </a:endParaRPr>
          </a:p>
        </p:txBody>
      </p:sp>
      <p:sp>
        <p:nvSpPr>
          <p:cNvPr id="13" name="Freeform 7"/>
          <p:cNvSpPr>
            <a:spLocks/>
          </p:cNvSpPr>
          <p:nvPr/>
        </p:nvSpPr>
        <p:spPr bwMode="auto">
          <a:xfrm>
            <a:off x="1347790" y="430213"/>
            <a:ext cx="128588" cy="147638"/>
          </a:xfrm>
          <a:custGeom>
            <a:avLst/>
            <a:gdLst>
              <a:gd name="T0" fmla="*/ 291 w 322"/>
              <a:gd name="T1" fmla="*/ 271 h 366"/>
              <a:gd name="T2" fmla="*/ 288 w 322"/>
              <a:gd name="T3" fmla="*/ 273 h 366"/>
              <a:gd name="T4" fmla="*/ 179 w 322"/>
              <a:gd name="T5" fmla="*/ 322 h 366"/>
              <a:gd name="T6" fmla="*/ 49 w 322"/>
              <a:gd name="T7" fmla="*/ 183 h 366"/>
              <a:gd name="T8" fmla="*/ 179 w 322"/>
              <a:gd name="T9" fmla="*/ 44 h 366"/>
              <a:gd name="T10" fmla="*/ 285 w 322"/>
              <a:gd name="T11" fmla="*/ 91 h 366"/>
              <a:gd name="T12" fmla="*/ 288 w 322"/>
              <a:gd name="T13" fmla="*/ 93 h 366"/>
              <a:gd name="T14" fmla="*/ 320 w 322"/>
              <a:gd name="T15" fmla="*/ 59 h 366"/>
              <a:gd name="T16" fmla="*/ 317 w 322"/>
              <a:gd name="T17" fmla="*/ 56 h 366"/>
              <a:gd name="T18" fmla="*/ 179 w 322"/>
              <a:gd name="T19" fmla="*/ 0 h 366"/>
              <a:gd name="T20" fmla="*/ 0 w 322"/>
              <a:gd name="T21" fmla="*/ 184 h 366"/>
              <a:gd name="T22" fmla="*/ 178 w 322"/>
              <a:gd name="T23" fmla="*/ 366 h 366"/>
              <a:gd name="T24" fmla="*/ 319 w 322"/>
              <a:gd name="T25" fmla="*/ 304 h 366"/>
              <a:gd name="T26" fmla="*/ 322 w 322"/>
              <a:gd name="T27" fmla="*/ 301 h 366"/>
              <a:gd name="T28" fmla="*/ 291 w 322"/>
              <a:gd name="T29" fmla="*/ 271 h 3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322" h="366">
                <a:moveTo>
                  <a:pt x="291" y="271"/>
                </a:moveTo>
                <a:cubicBezTo>
                  <a:pt x="288" y="273"/>
                  <a:pt x="288" y="273"/>
                  <a:pt x="288" y="273"/>
                </a:cubicBezTo>
                <a:cubicBezTo>
                  <a:pt x="257" y="303"/>
                  <a:pt x="227" y="322"/>
                  <a:pt x="179" y="322"/>
                </a:cubicBezTo>
                <a:cubicBezTo>
                  <a:pt x="105" y="322"/>
                  <a:pt x="49" y="262"/>
                  <a:pt x="49" y="183"/>
                </a:cubicBezTo>
                <a:cubicBezTo>
                  <a:pt x="49" y="104"/>
                  <a:pt x="105" y="44"/>
                  <a:pt x="179" y="44"/>
                </a:cubicBezTo>
                <a:cubicBezTo>
                  <a:pt x="219" y="44"/>
                  <a:pt x="251" y="58"/>
                  <a:pt x="285" y="91"/>
                </a:cubicBezTo>
                <a:cubicBezTo>
                  <a:pt x="288" y="93"/>
                  <a:pt x="288" y="93"/>
                  <a:pt x="288" y="93"/>
                </a:cubicBezTo>
                <a:cubicBezTo>
                  <a:pt x="320" y="59"/>
                  <a:pt x="320" y="59"/>
                  <a:pt x="320" y="59"/>
                </a:cubicBezTo>
                <a:cubicBezTo>
                  <a:pt x="317" y="56"/>
                  <a:pt x="317" y="56"/>
                  <a:pt x="317" y="56"/>
                </a:cubicBezTo>
                <a:cubicBezTo>
                  <a:pt x="286" y="27"/>
                  <a:pt x="248" y="0"/>
                  <a:pt x="179" y="0"/>
                </a:cubicBezTo>
                <a:cubicBezTo>
                  <a:pt x="77" y="0"/>
                  <a:pt x="0" y="79"/>
                  <a:pt x="0" y="184"/>
                </a:cubicBezTo>
                <a:cubicBezTo>
                  <a:pt x="0" y="288"/>
                  <a:pt x="77" y="366"/>
                  <a:pt x="178" y="366"/>
                </a:cubicBezTo>
                <a:cubicBezTo>
                  <a:pt x="248" y="366"/>
                  <a:pt x="289" y="335"/>
                  <a:pt x="319" y="304"/>
                </a:cubicBezTo>
                <a:cubicBezTo>
                  <a:pt x="322" y="301"/>
                  <a:pt x="322" y="301"/>
                  <a:pt x="322" y="301"/>
                </a:cubicBezTo>
                <a:lnTo>
                  <a:pt x="291" y="271"/>
                </a:lnTo>
                <a:close/>
              </a:path>
            </a:pathLst>
          </a:custGeom>
          <a:solidFill>
            <a:srgbClr val="12224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>
              <a:solidFill>
                <a:schemeClr val="bg1"/>
              </a:solidFill>
            </a:endParaRPr>
          </a:p>
        </p:txBody>
      </p:sp>
      <p:sp>
        <p:nvSpPr>
          <p:cNvPr id="14" name="Freeform 8"/>
          <p:cNvSpPr>
            <a:spLocks/>
          </p:cNvSpPr>
          <p:nvPr/>
        </p:nvSpPr>
        <p:spPr bwMode="auto">
          <a:xfrm>
            <a:off x="901700" y="431801"/>
            <a:ext cx="93663" cy="142875"/>
          </a:xfrm>
          <a:custGeom>
            <a:avLst/>
            <a:gdLst>
              <a:gd name="T0" fmla="*/ 0 w 59"/>
              <a:gd name="T1" fmla="*/ 0 h 90"/>
              <a:gd name="T2" fmla="*/ 0 w 59"/>
              <a:gd name="T3" fmla="*/ 11 h 90"/>
              <a:gd name="T4" fmla="*/ 40 w 59"/>
              <a:gd name="T5" fmla="*/ 11 h 90"/>
              <a:gd name="T6" fmla="*/ 0 w 59"/>
              <a:gd name="T7" fmla="*/ 90 h 90"/>
              <a:gd name="T8" fmla="*/ 59 w 59"/>
              <a:gd name="T9" fmla="*/ 90 h 90"/>
              <a:gd name="T10" fmla="*/ 59 w 59"/>
              <a:gd name="T11" fmla="*/ 79 h 90"/>
              <a:gd name="T12" fmla="*/ 19 w 59"/>
              <a:gd name="T13" fmla="*/ 79 h 90"/>
              <a:gd name="T14" fmla="*/ 59 w 59"/>
              <a:gd name="T15" fmla="*/ 0 h 90"/>
              <a:gd name="T16" fmla="*/ 0 w 59"/>
              <a:gd name="T17" fmla="*/ 0 h 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9" h="90">
                <a:moveTo>
                  <a:pt x="0" y="0"/>
                </a:moveTo>
                <a:lnTo>
                  <a:pt x="0" y="11"/>
                </a:lnTo>
                <a:lnTo>
                  <a:pt x="40" y="11"/>
                </a:lnTo>
                <a:lnTo>
                  <a:pt x="0" y="90"/>
                </a:lnTo>
                <a:lnTo>
                  <a:pt x="59" y="90"/>
                </a:lnTo>
                <a:lnTo>
                  <a:pt x="59" y="79"/>
                </a:lnTo>
                <a:lnTo>
                  <a:pt x="19" y="79"/>
                </a:lnTo>
                <a:lnTo>
                  <a:pt x="59" y="0"/>
                </a:lnTo>
                <a:lnTo>
                  <a:pt x="0" y="0"/>
                </a:lnTo>
                <a:close/>
              </a:path>
            </a:pathLst>
          </a:custGeom>
          <a:solidFill>
            <a:srgbClr val="12224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>
              <a:solidFill>
                <a:schemeClr val="bg1"/>
              </a:solidFill>
            </a:endParaRPr>
          </a:p>
        </p:txBody>
      </p:sp>
      <p:sp>
        <p:nvSpPr>
          <p:cNvPr id="15" name="Freeform 9"/>
          <p:cNvSpPr>
            <a:spLocks noEditPoints="1"/>
          </p:cNvSpPr>
          <p:nvPr/>
        </p:nvSpPr>
        <p:spPr bwMode="auto">
          <a:xfrm>
            <a:off x="1054102" y="430215"/>
            <a:ext cx="147638" cy="144463"/>
          </a:xfrm>
          <a:custGeom>
            <a:avLst/>
            <a:gdLst>
              <a:gd name="T0" fmla="*/ 0 w 93"/>
              <a:gd name="T1" fmla="*/ 91 h 91"/>
              <a:gd name="T2" fmla="*/ 93 w 93"/>
              <a:gd name="T3" fmla="*/ 91 h 91"/>
              <a:gd name="T4" fmla="*/ 47 w 93"/>
              <a:gd name="T5" fmla="*/ 0 h 91"/>
              <a:gd name="T6" fmla="*/ 0 w 93"/>
              <a:gd name="T7" fmla="*/ 91 h 91"/>
              <a:gd name="T8" fmla="*/ 19 w 93"/>
              <a:gd name="T9" fmla="*/ 80 h 91"/>
              <a:gd name="T10" fmla="*/ 47 w 93"/>
              <a:gd name="T11" fmla="*/ 26 h 91"/>
              <a:gd name="T12" fmla="*/ 74 w 93"/>
              <a:gd name="T13" fmla="*/ 80 h 91"/>
              <a:gd name="T14" fmla="*/ 19 w 93"/>
              <a:gd name="T15" fmla="*/ 80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93" h="91">
                <a:moveTo>
                  <a:pt x="0" y="91"/>
                </a:moveTo>
                <a:lnTo>
                  <a:pt x="93" y="91"/>
                </a:lnTo>
                <a:lnTo>
                  <a:pt x="47" y="0"/>
                </a:lnTo>
                <a:lnTo>
                  <a:pt x="0" y="91"/>
                </a:lnTo>
                <a:close/>
                <a:moveTo>
                  <a:pt x="19" y="80"/>
                </a:moveTo>
                <a:lnTo>
                  <a:pt x="47" y="26"/>
                </a:lnTo>
                <a:lnTo>
                  <a:pt x="74" y="80"/>
                </a:lnTo>
                <a:lnTo>
                  <a:pt x="19" y="80"/>
                </a:lnTo>
                <a:close/>
              </a:path>
            </a:pathLst>
          </a:custGeom>
          <a:solidFill>
            <a:srgbClr val="12224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>
              <a:solidFill>
                <a:schemeClr val="bg1"/>
              </a:solidFill>
            </a:endParaRPr>
          </a:p>
        </p:txBody>
      </p:sp>
      <p:sp>
        <p:nvSpPr>
          <p:cNvPr id="16" name="Freeform 10"/>
          <p:cNvSpPr>
            <a:spLocks/>
          </p:cNvSpPr>
          <p:nvPr/>
        </p:nvSpPr>
        <p:spPr bwMode="auto">
          <a:xfrm>
            <a:off x="500065" y="431801"/>
            <a:ext cx="136525" cy="142875"/>
          </a:xfrm>
          <a:custGeom>
            <a:avLst/>
            <a:gdLst>
              <a:gd name="T0" fmla="*/ 43 w 86"/>
              <a:gd name="T1" fmla="*/ 59 h 90"/>
              <a:gd name="T2" fmla="*/ 17 w 86"/>
              <a:gd name="T3" fmla="*/ 8 h 90"/>
              <a:gd name="T4" fmla="*/ 13 w 86"/>
              <a:gd name="T5" fmla="*/ 0 h 90"/>
              <a:gd name="T6" fmla="*/ 0 w 86"/>
              <a:gd name="T7" fmla="*/ 0 h 90"/>
              <a:gd name="T8" fmla="*/ 0 w 86"/>
              <a:gd name="T9" fmla="*/ 90 h 90"/>
              <a:gd name="T10" fmla="*/ 12 w 86"/>
              <a:gd name="T11" fmla="*/ 90 h 90"/>
              <a:gd name="T12" fmla="*/ 12 w 86"/>
              <a:gd name="T13" fmla="*/ 24 h 90"/>
              <a:gd name="T14" fmla="*/ 43 w 86"/>
              <a:gd name="T15" fmla="*/ 86 h 90"/>
              <a:gd name="T16" fmla="*/ 74 w 86"/>
              <a:gd name="T17" fmla="*/ 25 h 90"/>
              <a:gd name="T18" fmla="*/ 74 w 86"/>
              <a:gd name="T19" fmla="*/ 90 h 90"/>
              <a:gd name="T20" fmla="*/ 86 w 86"/>
              <a:gd name="T21" fmla="*/ 90 h 90"/>
              <a:gd name="T22" fmla="*/ 86 w 86"/>
              <a:gd name="T23" fmla="*/ 0 h 90"/>
              <a:gd name="T24" fmla="*/ 73 w 86"/>
              <a:gd name="T25" fmla="*/ 0 h 90"/>
              <a:gd name="T26" fmla="*/ 43 w 86"/>
              <a:gd name="T27" fmla="*/ 59 h 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86" h="90">
                <a:moveTo>
                  <a:pt x="43" y="59"/>
                </a:moveTo>
                <a:lnTo>
                  <a:pt x="17" y="8"/>
                </a:lnTo>
                <a:lnTo>
                  <a:pt x="13" y="0"/>
                </a:lnTo>
                <a:lnTo>
                  <a:pt x="0" y="0"/>
                </a:lnTo>
                <a:lnTo>
                  <a:pt x="0" y="90"/>
                </a:lnTo>
                <a:lnTo>
                  <a:pt x="12" y="90"/>
                </a:lnTo>
                <a:lnTo>
                  <a:pt x="12" y="24"/>
                </a:lnTo>
                <a:lnTo>
                  <a:pt x="43" y="86"/>
                </a:lnTo>
                <a:lnTo>
                  <a:pt x="74" y="25"/>
                </a:lnTo>
                <a:lnTo>
                  <a:pt x="74" y="90"/>
                </a:lnTo>
                <a:lnTo>
                  <a:pt x="86" y="90"/>
                </a:lnTo>
                <a:lnTo>
                  <a:pt x="86" y="0"/>
                </a:lnTo>
                <a:lnTo>
                  <a:pt x="73" y="0"/>
                </a:lnTo>
                <a:lnTo>
                  <a:pt x="43" y="59"/>
                </a:lnTo>
                <a:close/>
              </a:path>
            </a:pathLst>
          </a:custGeom>
          <a:solidFill>
            <a:srgbClr val="12224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>
              <a:solidFill>
                <a:schemeClr val="bg1"/>
              </a:solidFill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37" y="385734"/>
            <a:ext cx="2320916" cy="379326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87978" y="392091"/>
            <a:ext cx="1272037" cy="220711"/>
          </a:xfrm>
          <a:prstGeom prst="rect">
            <a:avLst/>
          </a:prstGeom>
        </p:spPr>
      </p:pic>
      <p:sp>
        <p:nvSpPr>
          <p:cNvPr id="21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500065" y="3850104"/>
            <a:ext cx="8140700" cy="2144296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  <a:lvl2pPr marL="0" indent="0">
              <a:spcBef>
                <a:spcPts val="6800"/>
              </a:spcBef>
              <a:buFontTx/>
              <a:buNone/>
              <a:defRPr sz="20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subtitle style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9177289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03239" y="2598825"/>
            <a:ext cx="8137525" cy="1270535"/>
          </a:xfrm>
        </p:spPr>
        <p:txBody>
          <a:bodyPr anchor="b" anchorCtr="0"/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C42819-A246-4D2B-8F57-F4A540E37BC6}" type="datetime1">
              <a:rPr lang="en-GB" smtClean="0"/>
              <a:t>09/09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2020  |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CC7E1B-4CD5-4B27-B5EB-7981BC3B78B5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Freeform 5"/>
          <p:cNvSpPr>
            <a:spLocks noEditPoints="1"/>
          </p:cNvSpPr>
          <p:nvPr/>
        </p:nvSpPr>
        <p:spPr bwMode="auto">
          <a:xfrm>
            <a:off x="701677" y="430213"/>
            <a:ext cx="144463" cy="147638"/>
          </a:xfrm>
          <a:custGeom>
            <a:avLst/>
            <a:gdLst>
              <a:gd name="T0" fmla="*/ 181 w 361"/>
              <a:gd name="T1" fmla="*/ 0 h 366"/>
              <a:gd name="T2" fmla="*/ 0 w 361"/>
              <a:gd name="T3" fmla="*/ 184 h 366"/>
              <a:gd name="T4" fmla="*/ 180 w 361"/>
              <a:gd name="T5" fmla="*/ 366 h 366"/>
              <a:gd name="T6" fmla="*/ 361 w 361"/>
              <a:gd name="T7" fmla="*/ 183 h 366"/>
              <a:gd name="T8" fmla="*/ 181 w 361"/>
              <a:gd name="T9" fmla="*/ 0 h 366"/>
              <a:gd name="T10" fmla="*/ 312 w 361"/>
              <a:gd name="T11" fmla="*/ 184 h 366"/>
              <a:gd name="T12" fmla="*/ 181 w 361"/>
              <a:gd name="T13" fmla="*/ 322 h 366"/>
              <a:gd name="T14" fmla="*/ 48 w 361"/>
              <a:gd name="T15" fmla="*/ 183 h 366"/>
              <a:gd name="T16" fmla="*/ 180 w 361"/>
              <a:gd name="T17" fmla="*/ 44 h 366"/>
              <a:gd name="T18" fmla="*/ 312 w 361"/>
              <a:gd name="T19" fmla="*/ 184 h 3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61" h="366">
                <a:moveTo>
                  <a:pt x="181" y="0"/>
                </a:moveTo>
                <a:cubicBezTo>
                  <a:pt x="79" y="0"/>
                  <a:pt x="0" y="81"/>
                  <a:pt x="0" y="184"/>
                </a:cubicBezTo>
                <a:cubicBezTo>
                  <a:pt x="0" y="288"/>
                  <a:pt x="77" y="366"/>
                  <a:pt x="180" y="366"/>
                </a:cubicBezTo>
                <a:cubicBezTo>
                  <a:pt x="281" y="366"/>
                  <a:pt x="361" y="286"/>
                  <a:pt x="361" y="183"/>
                </a:cubicBezTo>
                <a:cubicBezTo>
                  <a:pt x="361" y="79"/>
                  <a:pt x="283" y="0"/>
                  <a:pt x="181" y="0"/>
                </a:cubicBezTo>
                <a:close/>
                <a:moveTo>
                  <a:pt x="312" y="184"/>
                </a:moveTo>
                <a:cubicBezTo>
                  <a:pt x="312" y="263"/>
                  <a:pt x="256" y="322"/>
                  <a:pt x="181" y="322"/>
                </a:cubicBezTo>
                <a:cubicBezTo>
                  <a:pt x="105" y="322"/>
                  <a:pt x="48" y="262"/>
                  <a:pt x="48" y="183"/>
                </a:cubicBezTo>
                <a:cubicBezTo>
                  <a:pt x="48" y="104"/>
                  <a:pt x="105" y="44"/>
                  <a:pt x="180" y="44"/>
                </a:cubicBezTo>
                <a:cubicBezTo>
                  <a:pt x="255" y="44"/>
                  <a:pt x="312" y="104"/>
                  <a:pt x="312" y="184"/>
                </a:cubicBezTo>
                <a:close/>
              </a:path>
            </a:pathLst>
          </a:custGeom>
          <a:solidFill>
            <a:srgbClr val="12224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>
              <a:solidFill>
                <a:schemeClr val="bg1"/>
              </a:solidFill>
            </a:endParaRPr>
          </a:p>
        </p:txBody>
      </p:sp>
      <p:sp>
        <p:nvSpPr>
          <p:cNvPr id="12" name="Rectangle 6"/>
          <p:cNvSpPr>
            <a:spLocks noChangeArrowheads="1"/>
          </p:cNvSpPr>
          <p:nvPr/>
        </p:nvSpPr>
        <p:spPr bwMode="auto">
          <a:xfrm>
            <a:off x="1265238" y="431801"/>
            <a:ext cx="19050" cy="142875"/>
          </a:xfrm>
          <a:prstGeom prst="rect">
            <a:avLst/>
          </a:prstGeom>
          <a:solidFill>
            <a:srgbClr val="12224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>
              <a:solidFill>
                <a:schemeClr val="bg1"/>
              </a:solidFill>
            </a:endParaRPr>
          </a:p>
        </p:txBody>
      </p:sp>
      <p:sp>
        <p:nvSpPr>
          <p:cNvPr id="13" name="Freeform 7"/>
          <p:cNvSpPr>
            <a:spLocks/>
          </p:cNvSpPr>
          <p:nvPr/>
        </p:nvSpPr>
        <p:spPr bwMode="auto">
          <a:xfrm>
            <a:off x="1347790" y="430213"/>
            <a:ext cx="128588" cy="147638"/>
          </a:xfrm>
          <a:custGeom>
            <a:avLst/>
            <a:gdLst>
              <a:gd name="T0" fmla="*/ 291 w 322"/>
              <a:gd name="T1" fmla="*/ 271 h 366"/>
              <a:gd name="T2" fmla="*/ 288 w 322"/>
              <a:gd name="T3" fmla="*/ 273 h 366"/>
              <a:gd name="T4" fmla="*/ 179 w 322"/>
              <a:gd name="T5" fmla="*/ 322 h 366"/>
              <a:gd name="T6" fmla="*/ 49 w 322"/>
              <a:gd name="T7" fmla="*/ 183 h 366"/>
              <a:gd name="T8" fmla="*/ 179 w 322"/>
              <a:gd name="T9" fmla="*/ 44 h 366"/>
              <a:gd name="T10" fmla="*/ 285 w 322"/>
              <a:gd name="T11" fmla="*/ 91 h 366"/>
              <a:gd name="T12" fmla="*/ 288 w 322"/>
              <a:gd name="T13" fmla="*/ 93 h 366"/>
              <a:gd name="T14" fmla="*/ 320 w 322"/>
              <a:gd name="T15" fmla="*/ 59 h 366"/>
              <a:gd name="T16" fmla="*/ 317 w 322"/>
              <a:gd name="T17" fmla="*/ 56 h 366"/>
              <a:gd name="T18" fmla="*/ 179 w 322"/>
              <a:gd name="T19" fmla="*/ 0 h 366"/>
              <a:gd name="T20" fmla="*/ 0 w 322"/>
              <a:gd name="T21" fmla="*/ 184 h 366"/>
              <a:gd name="T22" fmla="*/ 178 w 322"/>
              <a:gd name="T23" fmla="*/ 366 h 366"/>
              <a:gd name="T24" fmla="*/ 319 w 322"/>
              <a:gd name="T25" fmla="*/ 304 h 366"/>
              <a:gd name="T26" fmla="*/ 322 w 322"/>
              <a:gd name="T27" fmla="*/ 301 h 366"/>
              <a:gd name="T28" fmla="*/ 291 w 322"/>
              <a:gd name="T29" fmla="*/ 271 h 3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322" h="366">
                <a:moveTo>
                  <a:pt x="291" y="271"/>
                </a:moveTo>
                <a:cubicBezTo>
                  <a:pt x="288" y="273"/>
                  <a:pt x="288" y="273"/>
                  <a:pt x="288" y="273"/>
                </a:cubicBezTo>
                <a:cubicBezTo>
                  <a:pt x="257" y="303"/>
                  <a:pt x="227" y="322"/>
                  <a:pt x="179" y="322"/>
                </a:cubicBezTo>
                <a:cubicBezTo>
                  <a:pt x="105" y="322"/>
                  <a:pt x="49" y="262"/>
                  <a:pt x="49" y="183"/>
                </a:cubicBezTo>
                <a:cubicBezTo>
                  <a:pt x="49" y="104"/>
                  <a:pt x="105" y="44"/>
                  <a:pt x="179" y="44"/>
                </a:cubicBezTo>
                <a:cubicBezTo>
                  <a:pt x="219" y="44"/>
                  <a:pt x="251" y="58"/>
                  <a:pt x="285" y="91"/>
                </a:cubicBezTo>
                <a:cubicBezTo>
                  <a:pt x="288" y="93"/>
                  <a:pt x="288" y="93"/>
                  <a:pt x="288" y="93"/>
                </a:cubicBezTo>
                <a:cubicBezTo>
                  <a:pt x="320" y="59"/>
                  <a:pt x="320" y="59"/>
                  <a:pt x="320" y="59"/>
                </a:cubicBezTo>
                <a:cubicBezTo>
                  <a:pt x="317" y="56"/>
                  <a:pt x="317" y="56"/>
                  <a:pt x="317" y="56"/>
                </a:cubicBezTo>
                <a:cubicBezTo>
                  <a:pt x="286" y="27"/>
                  <a:pt x="248" y="0"/>
                  <a:pt x="179" y="0"/>
                </a:cubicBezTo>
                <a:cubicBezTo>
                  <a:pt x="77" y="0"/>
                  <a:pt x="0" y="79"/>
                  <a:pt x="0" y="184"/>
                </a:cubicBezTo>
                <a:cubicBezTo>
                  <a:pt x="0" y="288"/>
                  <a:pt x="77" y="366"/>
                  <a:pt x="178" y="366"/>
                </a:cubicBezTo>
                <a:cubicBezTo>
                  <a:pt x="248" y="366"/>
                  <a:pt x="289" y="335"/>
                  <a:pt x="319" y="304"/>
                </a:cubicBezTo>
                <a:cubicBezTo>
                  <a:pt x="322" y="301"/>
                  <a:pt x="322" y="301"/>
                  <a:pt x="322" y="301"/>
                </a:cubicBezTo>
                <a:lnTo>
                  <a:pt x="291" y="271"/>
                </a:lnTo>
                <a:close/>
              </a:path>
            </a:pathLst>
          </a:custGeom>
          <a:solidFill>
            <a:srgbClr val="12224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>
              <a:solidFill>
                <a:schemeClr val="bg1"/>
              </a:solidFill>
            </a:endParaRPr>
          </a:p>
        </p:txBody>
      </p:sp>
      <p:sp>
        <p:nvSpPr>
          <p:cNvPr id="14" name="Freeform 8"/>
          <p:cNvSpPr>
            <a:spLocks/>
          </p:cNvSpPr>
          <p:nvPr/>
        </p:nvSpPr>
        <p:spPr bwMode="auto">
          <a:xfrm>
            <a:off x="901700" y="431801"/>
            <a:ext cx="93663" cy="142875"/>
          </a:xfrm>
          <a:custGeom>
            <a:avLst/>
            <a:gdLst>
              <a:gd name="T0" fmla="*/ 0 w 59"/>
              <a:gd name="T1" fmla="*/ 0 h 90"/>
              <a:gd name="T2" fmla="*/ 0 w 59"/>
              <a:gd name="T3" fmla="*/ 11 h 90"/>
              <a:gd name="T4" fmla="*/ 40 w 59"/>
              <a:gd name="T5" fmla="*/ 11 h 90"/>
              <a:gd name="T6" fmla="*/ 0 w 59"/>
              <a:gd name="T7" fmla="*/ 90 h 90"/>
              <a:gd name="T8" fmla="*/ 59 w 59"/>
              <a:gd name="T9" fmla="*/ 90 h 90"/>
              <a:gd name="T10" fmla="*/ 59 w 59"/>
              <a:gd name="T11" fmla="*/ 79 h 90"/>
              <a:gd name="T12" fmla="*/ 19 w 59"/>
              <a:gd name="T13" fmla="*/ 79 h 90"/>
              <a:gd name="T14" fmla="*/ 59 w 59"/>
              <a:gd name="T15" fmla="*/ 0 h 90"/>
              <a:gd name="T16" fmla="*/ 0 w 59"/>
              <a:gd name="T17" fmla="*/ 0 h 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9" h="90">
                <a:moveTo>
                  <a:pt x="0" y="0"/>
                </a:moveTo>
                <a:lnTo>
                  <a:pt x="0" y="11"/>
                </a:lnTo>
                <a:lnTo>
                  <a:pt x="40" y="11"/>
                </a:lnTo>
                <a:lnTo>
                  <a:pt x="0" y="90"/>
                </a:lnTo>
                <a:lnTo>
                  <a:pt x="59" y="90"/>
                </a:lnTo>
                <a:lnTo>
                  <a:pt x="59" y="79"/>
                </a:lnTo>
                <a:lnTo>
                  <a:pt x="19" y="79"/>
                </a:lnTo>
                <a:lnTo>
                  <a:pt x="59" y="0"/>
                </a:lnTo>
                <a:lnTo>
                  <a:pt x="0" y="0"/>
                </a:lnTo>
                <a:close/>
              </a:path>
            </a:pathLst>
          </a:custGeom>
          <a:solidFill>
            <a:srgbClr val="12224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>
              <a:solidFill>
                <a:schemeClr val="bg1"/>
              </a:solidFill>
            </a:endParaRPr>
          </a:p>
        </p:txBody>
      </p:sp>
      <p:sp>
        <p:nvSpPr>
          <p:cNvPr id="15" name="Freeform 9"/>
          <p:cNvSpPr>
            <a:spLocks noEditPoints="1"/>
          </p:cNvSpPr>
          <p:nvPr/>
        </p:nvSpPr>
        <p:spPr bwMode="auto">
          <a:xfrm>
            <a:off x="1054102" y="430215"/>
            <a:ext cx="147638" cy="144463"/>
          </a:xfrm>
          <a:custGeom>
            <a:avLst/>
            <a:gdLst>
              <a:gd name="T0" fmla="*/ 0 w 93"/>
              <a:gd name="T1" fmla="*/ 91 h 91"/>
              <a:gd name="T2" fmla="*/ 93 w 93"/>
              <a:gd name="T3" fmla="*/ 91 h 91"/>
              <a:gd name="T4" fmla="*/ 47 w 93"/>
              <a:gd name="T5" fmla="*/ 0 h 91"/>
              <a:gd name="T6" fmla="*/ 0 w 93"/>
              <a:gd name="T7" fmla="*/ 91 h 91"/>
              <a:gd name="T8" fmla="*/ 19 w 93"/>
              <a:gd name="T9" fmla="*/ 80 h 91"/>
              <a:gd name="T10" fmla="*/ 47 w 93"/>
              <a:gd name="T11" fmla="*/ 26 h 91"/>
              <a:gd name="T12" fmla="*/ 74 w 93"/>
              <a:gd name="T13" fmla="*/ 80 h 91"/>
              <a:gd name="T14" fmla="*/ 19 w 93"/>
              <a:gd name="T15" fmla="*/ 80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93" h="91">
                <a:moveTo>
                  <a:pt x="0" y="91"/>
                </a:moveTo>
                <a:lnTo>
                  <a:pt x="93" y="91"/>
                </a:lnTo>
                <a:lnTo>
                  <a:pt x="47" y="0"/>
                </a:lnTo>
                <a:lnTo>
                  <a:pt x="0" y="91"/>
                </a:lnTo>
                <a:close/>
                <a:moveTo>
                  <a:pt x="19" y="80"/>
                </a:moveTo>
                <a:lnTo>
                  <a:pt x="47" y="26"/>
                </a:lnTo>
                <a:lnTo>
                  <a:pt x="74" y="80"/>
                </a:lnTo>
                <a:lnTo>
                  <a:pt x="19" y="80"/>
                </a:lnTo>
                <a:close/>
              </a:path>
            </a:pathLst>
          </a:custGeom>
          <a:solidFill>
            <a:srgbClr val="12224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>
              <a:solidFill>
                <a:schemeClr val="bg1"/>
              </a:solidFill>
            </a:endParaRPr>
          </a:p>
        </p:txBody>
      </p:sp>
      <p:sp>
        <p:nvSpPr>
          <p:cNvPr id="16" name="Freeform 10"/>
          <p:cNvSpPr>
            <a:spLocks/>
          </p:cNvSpPr>
          <p:nvPr/>
        </p:nvSpPr>
        <p:spPr bwMode="auto">
          <a:xfrm>
            <a:off x="500065" y="431801"/>
            <a:ext cx="136525" cy="142875"/>
          </a:xfrm>
          <a:custGeom>
            <a:avLst/>
            <a:gdLst>
              <a:gd name="T0" fmla="*/ 43 w 86"/>
              <a:gd name="T1" fmla="*/ 59 h 90"/>
              <a:gd name="T2" fmla="*/ 17 w 86"/>
              <a:gd name="T3" fmla="*/ 8 h 90"/>
              <a:gd name="T4" fmla="*/ 13 w 86"/>
              <a:gd name="T5" fmla="*/ 0 h 90"/>
              <a:gd name="T6" fmla="*/ 0 w 86"/>
              <a:gd name="T7" fmla="*/ 0 h 90"/>
              <a:gd name="T8" fmla="*/ 0 w 86"/>
              <a:gd name="T9" fmla="*/ 90 h 90"/>
              <a:gd name="T10" fmla="*/ 12 w 86"/>
              <a:gd name="T11" fmla="*/ 90 h 90"/>
              <a:gd name="T12" fmla="*/ 12 w 86"/>
              <a:gd name="T13" fmla="*/ 24 h 90"/>
              <a:gd name="T14" fmla="*/ 43 w 86"/>
              <a:gd name="T15" fmla="*/ 86 h 90"/>
              <a:gd name="T16" fmla="*/ 74 w 86"/>
              <a:gd name="T17" fmla="*/ 25 h 90"/>
              <a:gd name="T18" fmla="*/ 74 w 86"/>
              <a:gd name="T19" fmla="*/ 90 h 90"/>
              <a:gd name="T20" fmla="*/ 86 w 86"/>
              <a:gd name="T21" fmla="*/ 90 h 90"/>
              <a:gd name="T22" fmla="*/ 86 w 86"/>
              <a:gd name="T23" fmla="*/ 0 h 90"/>
              <a:gd name="T24" fmla="*/ 73 w 86"/>
              <a:gd name="T25" fmla="*/ 0 h 90"/>
              <a:gd name="T26" fmla="*/ 43 w 86"/>
              <a:gd name="T27" fmla="*/ 59 h 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86" h="90">
                <a:moveTo>
                  <a:pt x="43" y="59"/>
                </a:moveTo>
                <a:lnTo>
                  <a:pt x="17" y="8"/>
                </a:lnTo>
                <a:lnTo>
                  <a:pt x="13" y="0"/>
                </a:lnTo>
                <a:lnTo>
                  <a:pt x="0" y="0"/>
                </a:lnTo>
                <a:lnTo>
                  <a:pt x="0" y="90"/>
                </a:lnTo>
                <a:lnTo>
                  <a:pt x="12" y="90"/>
                </a:lnTo>
                <a:lnTo>
                  <a:pt x="12" y="24"/>
                </a:lnTo>
                <a:lnTo>
                  <a:pt x="43" y="86"/>
                </a:lnTo>
                <a:lnTo>
                  <a:pt x="74" y="25"/>
                </a:lnTo>
                <a:lnTo>
                  <a:pt x="74" y="90"/>
                </a:lnTo>
                <a:lnTo>
                  <a:pt x="86" y="90"/>
                </a:lnTo>
                <a:lnTo>
                  <a:pt x="86" y="0"/>
                </a:lnTo>
                <a:lnTo>
                  <a:pt x="73" y="0"/>
                </a:lnTo>
                <a:lnTo>
                  <a:pt x="43" y="59"/>
                </a:lnTo>
                <a:close/>
              </a:path>
            </a:pathLst>
          </a:custGeom>
          <a:solidFill>
            <a:srgbClr val="12224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>
              <a:solidFill>
                <a:schemeClr val="bg1"/>
              </a:solidFill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37" y="385734"/>
            <a:ext cx="2320916" cy="379326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87978" y="392091"/>
            <a:ext cx="1272037" cy="2207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36532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0" y="1222408"/>
            <a:ext cx="9144000" cy="4771992"/>
          </a:xfrm>
          <a:prstGeom prst="rect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4000" y="308008"/>
            <a:ext cx="8136000" cy="828000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E1084-4904-407C-AC15-533F23C176C4}" type="datetime1">
              <a:rPr lang="en-GB" smtClean="0"/>
              <a:t>09/09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2020  |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CC7E1B-4CD5-4B27-B5EB-7981BC3B78B5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04001" y="1732550"/>
            <a:ext cx="2520188" cy="4004111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2400" b="1" baseline="0"/>
            </a:lvl1pPr>
            <a:lvl2pPr marL="153988" indent="-153988">
              <a:spcBef>
                <a:spcPts val="1200"/>
              </a:spcBef>
              <a:buFont typeface="Arial" panose="020B0604020202020204" pitchFamily="34" charset="0"/>
              <a:buChar char="–"/>
              <a:defRPr sz="1400"/>
            </a:lvl2pPr>
            <a:lvl3pPr marL="327025" indent="-106363">
              <a:spcBef>
                <a:spcPts val="500"/>
              </a:spcBef>
              <a:buFont typeface="Arial" panose="020B0604020202020204" pitchFamily="34" charset="0"/>
              <a:buChar char="•"/>
              <a:defRPr sz="1400"/>
            </a:lvl3pPr>
            <a:lvl4pPr marL="558800" indent="-134938">
              <a:spcBef>
                <a:spcPts val="500"/>
              </a:spcBef>
              <a:buFont typeface="Arial" panose="020B0604020202020204" pitchFamily="34" charset="0"/>
              <a:buChar char="–"/>
              <a:defRPr sz="1200"/>
            </a:lvl4pPr>
            <a:lvl5pPr marL="760413" indent="-125413">
              <a:spcBef>
                <a:spcPts val="500"/>
              </a:spcBef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/>
              <a:t>Column heading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8" name="Straight Connector 7"/>
          <p:cNvCxnSpPr/>
          <p:nvPr/>
        </p:nvCxnSpPr>
        <p:spPr>
          <a:xfrm>
            <a:off x="504001" y="1655541"/>
            <a:ext cx="2520188" cy="0"/>
          </a:xfrm>
          <a:prstGeom prst="line">
            <a:avLst/>
          </a:prstGeom>
          <a:ln w="698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ontent Placeholder 2"/>
          <p:cNvSpPr>
            <a:spLocks noGrp="1"/>
          </p:cNvSpPr>
          <p:nvPr>
            <p:ph idx="16" hasCustomPrompt="1"/>
          </p:nvPr>
        </p:nvSpPr>
        <p:spPr>
          <a:xfrm>
            <a:off x="6122431" y="1732550"/>
            <a:ext cx="2520188" cy="4004111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2400" b="1" baseline="0"/>
            </a:lvl1pPr>
            <a:lvl2pPr marL="153988" indent="-153988">
              <a:spcBef>
                <a:spcPts val="1200"/>
              </a:spcBef>
              <a:buFont typeface="Arial" panose="020B0604020202020204" pitchFamily="34" charset="0"/>
              <a:buChar char="–"/>
              <a:defRPr sz="1400"/>
            </a:lvl2pPr>
            <a:lvl3pPr marL="327025" indent="-106363">
              <a:spcBef>
                <a:spcPts val="500"/>
              </a:spcBef>
              <a:buFont typeface="Arial" panose="020B0604020202020204" pitchFamily="34" charset="0"/>
              <a:buChar char="•"/>
              <a:defRPr sz="1400"/>
            </a:lvl3pPr>
            <a:lvl4pPr marL="558800" indent="-134938">
              <a:spcBef>
                <a:spcPts val="500"/>
              </a:spcBef>
              <a:buFont typeface="Arial" panose="020B0604020202020204" pitchFamily="34" charset="0"/>
              <a:buChar char="–"/>
              <a:defRPr sz="1200"/>
            </a:lvl4pPr>
            <a:lvl5pPr marL="760413" indent="-125413">
              <a:spcBef>
                <a:spcPts val="500"/>
              </a:spcBef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/>
              <a:t>Column heading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5" name="Straight Connector 14"/>
          <p:cNvCxnSpPr/>
          <p:nvPr/>
        </p:nvCxnSpPr>
        <p:spPr>
          <a:xfrm>
            <a:off x="6122431" y="1655541"/>
            <a:ext cx="2520188" cy="0"/>
          </a:xfrm>
          <a:prstGeom prst="line">
            <a:avLst/>
          </a:prstGeom>
          <a:ln w="698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313216" y="1732550"/>
            <a:ext cx="2520188" cy="4004111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2400" b="1" baseline="0"/>
            </a:lvl1pPr>
            <a:lvl2pPr marL="153988" indent="-153988">
              <a:spcBef>
                <a:spcPts val="1200"/>
              </a:spcBef>
              <a:buFont typeface="Arial" panose="020B0604020202020204" pitchFamily="34" charset="0"/>
              <a:buChar char="–"/>
              <a:defRPr sz="1400"/>
            </a:lvl2pPr>
            <a:lvl3pPr marL="327025" indent="-106363">
              <a:spcBef>
                <a:spcPts val="500"/>
              </a:spcBef>
              <a:buFont typeface="Arial" panose="020B0604020202020204" pitchFamily="34" charset="0"/>
              <a:buChar char="•"/>
              <a:defRPr sz="1400"/>
            </a:lvl3pPr>
            <a:lvl4pPr marL="558800" indent="-134938">
              <a:spcBef>
                <a:spcPts val="500"/>
              </a:spcBef>
              <a:buFont typeface="Arial" panose="020B0604020202020204" pitchFamily="34" charset="0"/>
              <a:buChar char="–"/>
              <a:defRPr sz="1200"/>
            </a:lvl4pPr>
            <a:lvl5pPr marL="760413" indent="-125413">
              <a:spcBef>
                <a:spcPts val="500"/>
              </a:spcBef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/>
              <a:t>Column heading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3313216" y="1655541"/>
            <a:ext cx="2520188" cy="0"/>
          </a:xfrm>
          <a:prstGeom prst="line">
            <a:avLst/>
          </a:prstGeom>
          <a:ln w="698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323755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B42E5B-5807-40B2-B0C2-D80738C5FB68}" type="datetime1">
              <a:rPr lang="en-GB" smtClean="0"/>
              <a:t>09/09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2020  |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CC7E1B-4CD5-4B27-B5EB-7981BC3B78B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745879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6D7677-6F70-4A53-8EC4-0DCD42195D0E}" type="datetime1">
              <a:rPr lang="en-GB" smtClean="0"/>
              <a:t>09/09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2020  |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CC7E1B-4CD5-4B27-B5EB-7981BC3B78B5}" type="slidenum">
              <a:rPr lang="en-GB" smtClean="0"/>
              <a:t>‹#›</a:t>
            </a:fld>
            <a:endParaRPr lang="en-GB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504000" y="1638301"/>
            <a:ext cx="8136000" cy="4348614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400"/>
            </a:lvl1pPr>
            <a:lvl2pPr marL="115888" indent="-115888">
              <a:spcBef>
                <a:spcPts val="400"/>
              </a:spcBef>
              <a:defRPr sz="1400"/>
            </a:lvl2pPr>
            <a:lvl3pPr marL="395288" indent="-184150">
              <a:spcBef>
                <a:spcPts val="400"/>
              </a:spcBef>
              <a:defRPr sz="1400"/>
            </a:lvl3pPr>
            <a:lvl4pPr marL="615950" indent="-106363">
              <a:spcBef>
                <a:spcPts val="400"/>
              </a:spcBef>
              <a:defRPr sz="1200"/>
            </a:lvl4pPr>
            <a:lvl5pPr marL="866775" indent="-163513">
              <a:spcBef>
                <a:spcPts val="400"/>
              </a:spcBef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62520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F5EAE7-A688-45BB-B985-0CE55D0D2662}" type="datetime1">
              <a:rPr lang="en-GB" smtClean="0"/>
              <a:t>09/09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2020  |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CC7E1B-4CD5-4B27-B5EB-7981BC3B78B5}" type="slidenum">
              <a:rPr lang="en-GB" smtClean="0"/>
              <a:t>‹#›</a:t>
            </a:fld>
            <a:endParaRPr lang="en-GB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504001" y="1638301"/>
            <a:ext cx="3949010" cy="4348614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400"/>
            </a:lvl1pPr>
            <a:lvl2pPr marL="115888" indent="-115888">
              <a:spcBef>
                <a:spcPts val="400"/>
              </a:spcBef>
              <a:defRPr sz="1400"/>
            </a:lvl2pPr>
            <a:lvl3pPr marL="395288" indent="-184150">
              <a:spcBef>
                <a:spcPts val="400"/>
              </a:spcBef>
              <a:defRPr sz="1400"/>
            </a:lvl3pPr>
            <a:lvl4pPr marL="615950" indent="-106363">
              <a:spcBef>
                <a:spcPts val="400"/>
              </a:spcBef>
              <a:defRPr sz="1200"/>
            </a:lvl4pPr>
            <a:lvl5pPr marL="866775" indent="-163513">
              <a:spcBef>
                <a:spcPts val="400"/>
              </a:spcBef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0" name="Content Placeholder 2"/>
          <p:cNvSpPr>
            <a:spLocks noGrp="1"/>
          </p:cNvSpPr>
          <p:nvPr>
            <p:ph idx="15"/>
          </p:nvPr>
        </p:nvSpPr>
        <p:spPr>
          <a:xfrm>
            <a:off x="4690990" y="1638301"/>
            <a:ext cx="3949010" cy="4348614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400"/>
            </a:lvl1pPr>
            <a:lvl2pPr marL="115888" indent="-115888">
              <a:spcBef>
                <a:spcPts val="400"/>
              </a:spcBef>
              <a:defRPr sz="1400"/>
            </a:lvl2pPr>
            <a:lvl3pPr marL="395288" indent="-184150">
              <a:spcBef>
                <a:spcPts val="400"/>
              </a:spcBef>
              <a:defRPr sz="1400"/>
            </a:lvl3pPr>
            <a:lvl4pPr marL="615950" indent="-106363">
              <a:spcBef>
                <a:spcPts val="400"/>
              </a:spcBef>
              <a:defRPr sz="1200"/>
            </a:lvl4pPr>
            <a:lvl5pPr marL="866775" indent="-163513">
              <a:spcBef>
                <a:spcPts val="400"/>
              </a:spcBef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56358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aption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28C01F-7078-402D-90C3-F4B7E109CDA9}" type="datetime1">
              <a:rPr lang="en-GB" smtClean="0"/>
              <a:t>09/09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2020  |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CC7E1B-4CD5-4B27-B5EB-7981BC3B78B5}" type="slidenum">
              <a:rPr lang="en-GB" smtClean="0"/>
              <a:t>‹#›</a:t>
            </a:fld>
            <a:endParaRPr lang="en-GB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504000" y="1638301"/>
            <a:ext cx="2520000" cy="43488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400"/>
            </a:lvl1pPr>
            <a:lvl2pPr marL="115888" indent="-115888">
              <a:spcBef>
                <a:spcPts val="400"/>
              </a:spcBef>
              <a:defRPr sz="1400"/>
            </a:lvl2pPr>
            <a:lvl3pPr marL="395288" indent="-184150">
              <a:spcBef>
                <a:spcPts val="400"/>
              </a:spcBef>
              <a:defRPr sz="1400"/>
            </a:lvl3pPr>
            <a:lvl4pPr marL="615950" indent="-106363">
              <a:spcBef>
                <a:spcPts val="400"/>
              </a:spcBef>
              <a:defRPr sz="1200"/>
            </a:lvl4pPr>
            <a:lvl5pPr marL="866775" indent="-163513">
              <a:spcBef>
                <a:spcPts val="400"/>
              </a:spcBef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0" name="Content Placeholder 2"/>
          <p:cNvSpPr>
            <a:spLocks noGrp="1"/>
          </p:cNvSpPr>
          <p:nvPr>
            <p:ph idx="15"/>
          </p:nvPr>
        </p:nvSpPr>
        <p:spPr>
          <a:xfrm>
            <a:off x="3302001" y="1638301"/>
            <a:ext cx="5338000" cy="4348614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400"/>
            </a:lvl1pPr>
            <a:lvl2pPr marL="115888" indent="-115888">
              <a:spcBef>
                <a:spcPts val="400"/>
              </a:spcBef>
              <a:defRPr sz="1400"/>
            </a:lvl2pPr>
            <a:lvl3pPr marL="395288" indent="-184150">
              <a:spcBef>
                <a:spcPts val="400"/>
              </a:spcBef>
              <a:defRPr sz="1400"/>
            </a:lvl3pPr>
            <a:lvl4pPr marL="615950" indent="-106363">
              <a:spcBef>
                <a:spcPts val="400"/>
              </a:spcBef>
              <a:defRPr sz="1200"/>
            </a:lvl4pPr>
            <a:lvl5pPr marL="866775" indent="-163513">
              <a:spcBef>
                <a:spcPts val="400"/>
              </a:spcBef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46106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, Content and Pull-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30CA7D-02D8-4B5A-B007-DC7FA2E54797}" type="datetime1">
              <a:rPr lang="en-GB" smtClean="0"/>
              <a:t>09/09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2020  |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CC7E1B-4CD5-4B27-B5EB-7981BC3B78B5}" type="slidenum">
              <a:rPr lang="en-GB" smtClean="0"/>
              <a:t>‹#›</a:t>
            </a:fld>
            <a:endParaRPr lang="en-GB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504000" y="1638301"/>
            <a:ext cx="5055916" cy="893143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400"/>
            </a:lvl1pPr>
            <a:lvl2pPr marL="115888" indent="-115888">
              <a:spcBef>
                <a:spcPts val="400"/>
              </a:spcBef>
              <a:defRPr sz="1400"/>
            </a:lvl2pPr>
            <a:lvl3pPr marL="395288" indent="-184150">
              <a:spcBef>
                <a:spcPts val="400"/>
              </a:spcBef>
              <a:defRPr sz="1400"/>
            </a:lvl3pPr>
            <a:lvl4pPr marL="615950" indent="-106363">
              <a:spcBef>
                <a:spcPts val="400"/>
              </a:spcBef>
              <a:defRPr sz="1200"/>
            </a:lvl4pPr>
            <a:lvl5pPr marL="866775" indent="-163513">
              <a:spcBef>
                <a:spcPts val="400"/>
              </a:spcBef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0" name="Content Placeholder 2"/>
          <p:cNvSpPr>
            <a:spLocks noGrp="1"/>
          </p:cNvSpPr>
          <p:nvPr>
            <p:ph idx="15"/>
          </p:nvPr>
        </p:nvSpPr>
        <p:spPr>
          <a:xfrm>
            <a:off x="6111876" y="1819177"/>
            <a:ext cx="2528125" cy="4167739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100"/>
            </a:lvl1pPr>
            <a:lvl2pPr marL="96838" indent="-96838">
              <a:spcBef>
                <a:spcPts val="400"/>
              </a:spcBef>
              <a:defRPr sz="1100"/>
            </a:lvl2pPr>
            <a:lvl3pPr marL="279400" indent="-115888">
              <a:spcBef>
                <a:spcPts val="400"/>
              </a:spcBef>
              <a:defRPr sz="1100"/>
            </a:lvl3pPr>
            <a:lvl4pPr marL="452438" indent="-77788">
              <a:spcBef>
                <a:spcPts val="400"/>
              </a:spcBef>
              <a:defRPr sz="1000"/>
            </a:lvl4pPr>
            <a:lvl5pPr marL="644525" indent="-125413">
              <a:spcBef>
                <a:spcPts val="400"/>
              </a:spcBef>
              <a:defRPr sz="10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1" name="Content Placeholder 2"/>
          <p:cNvSpPr>
            <a:spLocks noGrp="1"/>
          </p:cNvSpPr>
          <p:nvPr>
            <p:ph idx="16"/>
          </p:nvPr>
        </p:nvSpPr>
        <p:spPr>
          <a:xfrm>
            <a:off x="504000" y="2754832"/>
            <a:ext cx="5055916" cy="3239568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400"/>
            </a:lvl1pPr>
            <a:lvl2pPr marL="115888" indent="-115888">
              <a:spcBef>
                <a:spcPts val="400"/>
              </a:spcBef>
              <a:defRPr sz="1400"/>
            </a:lvl2pPr>
            <a:lvl3pPr marL="395288" indent="-184150">
              <a:spcBef>
                <a:spcPts val="400"/>
              </a:spcBef>
              <a:defRPr sz="1400"/>
            </a:lvl3pPr>
            <a:lvl4pPr marL="615950" indent="-106363">
              <a:spcBef>
                <a:spcPts val="400"/>
              </a:spcBef>
              <a:defRPr sz="1200"/>
            </a:lvl4pPr>
            <a:lvl5pPr marL="866775" indent="-163513">
              <a:spcBef>
                <a:spcPts val="400"/>
              </a:spcBef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cxnSp>
        <p:nvCxnSpPr>
          <p:cNvPr id="8" name="Straight Connector 7"/>
          <p:cNvCxnSpPr/>
          <p:nvPr/>
        </p:nvCxnSpPr>
        <p:spPr>
          <a:xfrm>
            <a:off x="6111877" y="1655541"/>
            <a:ext cx="2528888" cy="0"/>
          </a:xfrm>
          <a:prstGeom prst="line">
            <a:avLst/>
          </a:prstGeom>
          <a:ln w="698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8326863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3239" y="1625600"/>
            <a:ext cx="8007350" cy="2244400"/>
          </a:xfrm>
        </p:spPr>
        <p:txBody>
          <a:bodyPr anchor="b"/>
          <a:lstStyle>
            <a:lvl1pPr>
              <a:defRPr sz="36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3239" y="3852000"/>
            <a:ext cx="8007350" cy="2142400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41D3A7-EA72-408D-A789-A08841F77D7B}" type="datetime1">
              <a:rPr lang="en-GB" smtClean="0"/>
              <a:t>09/09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2020  |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CC7E1B-4CD5-4B27-B5EB-7981BC3B78B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320402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32091F-AB17-4DAA-8259-F52645DA94F3}" type="datetime1">
              <a:rPr lang="en-GB" smtClean="0"/>
              <a:t>09/09/2020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2020  |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CC7E1B-4CD5-4B27-B5EB-7981BC3B78B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583882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CD5CC-FED0-4FBE-A4F5-B430F2869FCB}" type="datetime1">
              <a:rPr lang="en-GB" smtClean="0"/>
              <a:t>09/09/2020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2020  |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CC7E1B-4CD5-4B27-B5EB-7981BC3B78B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420831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3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A0FAD10-BEBF-49EB-B319-798989CD6F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139107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6" imgW="230" imgH="255" progId="TCLayout.ActiveDocument.1">
                  <p:embed/>
                </p:oleObj>
              </mc:Choice>
              <mc:Fallback>
                <p:oleObj name="think-cell Slide" r:id="rId16" imgW="230" imgH="25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A0FAD10-BEBF-49EB-B319-798989CD6F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FDCD2489-6889-45F1-9C59-DEEA66BB2053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2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04000" y="308009"/>
            <a:ext cx="8136000" cy="112475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4000" y="1638301"/>
            <a:ext cx="8136000" cy="434861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750250" y="6489901"/>
            <a:ext cx="990600" cy="27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04D07AD2-FBF8-4E3E-9964-58BFCB57EFFE}" type="datetime1">
              <a:rPr lang="en-GB" smtClean="0"/>
              <a:t>09/09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740850" y="6489901"/>
            <a:ext cx="673100" cy="27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/>
              <a:t>© 2020  |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94700" y="6489901"/>
            <a:ext cx="245300" cy="27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40CC7E1B-4CD5-4B27-B5EB-7981BC3B78B5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9" name="Straight Connector 8"/>
          <p:cNvCxnSpPr/>
          <p:nvPr/>
        </p:nvCxnSpPr>
        <p:spPr>
          <a:xfrm>
            <a:off x="504000" y="6314170"/>
            <a:ext cx="8136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9716" y="6467732"/>
            <a:ext cx="993805" cy="162426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3007" y="6493512"/>
            <a:ext cx="920420" cy="1597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09238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4" r:id="rId1"/>
    <p:sldLayoutId id="2147483825" r:id="rId2"/>
    <p:sldLayoutId id="2147483826" r:id="rId3"/>
    <p:sldLayoutId id="2147483827" r:id="rId4"/>
    <p:sldLayoutId id="2147483828" r:id="rId5"/>
    <p:sldLayoutId id="2147483829" r:id="rId6"/>
    <p:sldLayoutId id="2147483830" r:id="rId7"/>
    <p:sldLayoutId id="2147483831" r:id="rId8"/>
    <p:sldLayoutId id="2147483832" r:id="rId9"/>
    <p:sldLayoutId id="2147483833" r:id="rId10"/>
    <p:sldLayoutId id="2147483834" r:id="rId11"/>
  </p:sldLayoutIdLst>
  <p:hf hd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spcAft>
          <a:spcPts val="0"/>
        </a:spcAft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5000"/>
        </a:lnSpc>
        <a:spcBef>
          <a:spcPts val="800"/>
        </a:spcBef>
        <a:buFontTx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44463" indent="-144463" algn="l" defTabSz="914400" rtl="0" eaLnBrk="1" latinLnBrk="0" hangingPunct="1">
        <a:lnSpc>
          <a:spcPct val="95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39750" indent="-212725" algn="l" defTabSz="914400" rtl="0" eaLnBrk="1" latinLnBrk="0" hangingPunct="1">
        <a:lnSpc>
          <a:spcPct val="95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876300" indent="-144463" algn="l" defTabSz="914400" rtl="0" eaLnBrk="1" latinLnBrk="0" hangingPunct="1">
        <a:lnSpc>
          <a:spcPct val="95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231900" indent="-201613" algn="l" defTabSz="914400" rtl="0" eaLnBrk="1" latinLnBrk="0" hangingPunct="1">
        <a:lnSpc>
          <a:spcPct val="95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7" pos="2888" userDrawn="1">
          <p15:clr>
            <a:srgbClr val="F26B43"/>
          </p15:clr>
        </p15:guide>
        <p15:guide id="19" pos="2880" userDrawn="1">
          <p15:clr>
            <a:srgbClr val="F26B43"/>
          </p15:clr>
        </p15:guide>
        <p15:guide id="20" pos="317" userDrawn="1">
          <p15:clr>
            <a:srgbClr val="F26B43"/>
          </p15:clr>
        </p15:guide>
        <p15:guide id="21" pos="5443" userDrawn="1">
          <p15:clr>
            <a:srgbClr val="F26B43"/>
          </p15:clr>
        </p15:guide>
        <p15:guide id="22" pos="2808" userDrawn="1">
          <p15:clr>
            <a:srgbClr val="F26B43"/>
          </p15:clr>
        </p15:guide>
        <p15:guide id="23" pos="2944" userDrawn="1">
          <p15:clr>
            <a:srgbClr val="F26B43"/>
          </p15:clr>
        </p15:guide>
        <p15:guide id="24" pos="1905" userDrawn="1">
          <p15:clr>
            <a:srgbClr val="F26B43"/>
          </p15:clr>
        </p15:guide>
        <p15:guide id="25" pos="2072" userDrawn="1">
          <p15:clr>
            <a:srgbClr val="F26B43"/>
          </p15:clr>
        </p15:guide>
        <p15:guide id="26" pos="3505" userDrawn="1">
          <p15:clr>
            <a:srgbClr val="F26B43"/>
          </p15:clr>
        </p15:guide>
        <p15:guide id="27" pos="3850" userDrawn="1">
          <p15:clr>
            <a:srgbClr val="F26B43"/>
          </p15:clr>
        </p15:guide>
        <p15:guide id="28" orient="horz" pos="2160" userDrawn="1">
          <p15:clr>
            <a:srgbClr val="F26B43"/>
          </p15:clr>
        </p15:guide>
        <p15:guide id="29" pos="2160" userDrawn="1">
          <p15:clr>
            <a:srgbClr val="F26B43"/>
          </p15:clr>
        </p15:guide>
        <p15:guide id="30" pos="238" userDrawn="1">
          <p15:clr>
            <a:srgbClr val="F26B43"/>
          </p15:clr>
        </p15:guide>
        <p15:guide id="31" pos="4082" userDrawn="1">
          <p15:clr>
            <a:srgbClr val="F26B43"/>
          </p15:clr>
        </p15:guide>
        <p15:guide id="32" orient="horz" pos="1024" userDrawn="1">
          <p15:clr>
            <a:srgbClr val="F26B43"/>
          </p15:clr>
        </p15:guide>
        <p15:guide id="33" orient="horz" pos="249" userDrawn="1">
          <p15:clr>
            <a:srgbClr val="F26B43"/>
          </p15:clr>
        </p15:guide>
        <p15:guide id="34" orient="horz" pos="3776" userDrawn="1">
          <p15:clr>
            <a:srgbClr val="F26B43"/>
          </p15:clr>
        </p15:guide>
        <p15:guide id="35" orient="horz" pos="3976" userDrawn="1">
          <p15:clr>
            <a:srgbClr val="F26B43"/>
          </p15:clr>
        </p15:guide>
        <p15:guide id="36" orient="horz" pos="4160" userDrawn="1">
          <p15:clr>
            <a:srgbClr val="F26B43"/>
          </p15:clr>
        </p15:guide>
        <p15:guide id="37" pos="2106" userDrawn="1">
          <p15:clr>
            <a:srgbClr val="F26B43"/>
          </p15:clr>
        </p15:guide>
        <p15:guide id="38" pos="2208" userDrawn="1">
          <p15:clr>
            <a:srgbClr val="F26B43"/>
          </p15:clr>
        </p15:guide>
        <p15:guide id="39" pos="1429" userDrawn="1">
          <p15:clr>
            <a:srgbClr val="F26B43"/>
          </p15:clr>
        </p15:guide>
        <p15:guide id="40" pos="1554" userDrawn="1">
          <p15:clr>
            <a:srgbClr val="F26B43"/>
          </p15:clr>
        </p15:guide>
        <p15:guide id="41" pos="2629" userDrawn="1">
          <p15:clr>
            <a:srgbClr val="F26B43"/>
          </p15:clr>
        </p15:guide>
        <p15:guide id="43" orient="horz" pos="80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tags" Target="../tags/tag11.xml"/><Relationship Id="rId7" Type="http://schemas.openxmlformats.org/officeDocument/2006/relationships/image" Target="../media/image1.emf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tags" Target="../tags/tag13.xml"/><Relationship Id="rId7" Type="http://schemas.openxmlformats.org/officeDocument/2006/relationships/image" Target="../media/image1.emf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tags" Target="../tags/tag15.xml"/><Relationship Id="rId7" Type="http://schemas.openxmlformats.org/officeDocument/2006/relationships/image" Target="../media/image1.emf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E34DC0A-FCD5-4D6F-903C-AF192D355A8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03239" y="3459514"/>
            <a:ext cx="8137525" cy="1270535"/>
          </a:xfrm>
        </p:spPr>
        <p:txBody>
          <a:bodyPr/>
          <a:lstStyle/>
          <a:p>
            <a:r>
              <a:rPr lang="en-US">
                <a:latin typeface="Georgia" panose="02040502050405020303" pitchFamily="18" charset="0"/>
                <a:ea typeface="+mj-lt"/>
                <a:cs typeface="+mj-lt"/>
              </a:rPr>
              <a:t>Dev &amp; Build Process Design</a:t>
            </a:r>
            <a:br>
              <a:rPr lang="en-US" sz="2400">
                <a:latin typeface="Georgia" panose="02040502050405020303" pitchFamily="18" charset="0"/>
                <a:cs typeface="Arial"/>
              </a:rPr>
            </a:br>
            <a:r>
              <a:rPr lang="en-US" sz="2400">
                <a:latin typeface="Georgia" panose="02040502050405020303" pitchFamily="18" charset="0"/>
                <a:cs typeface="Arial"/>
              </a:rPr>
              <a:t>9</a:t>
            </a:r>
            <a:r>
              <a:rPr lang="en-US" sz="2400" baseline="30000">
                <a:latin typeface="Georgia" panose="02040502050405020303" pitchFamily="18" charset="0"/>
                <a:cs typeface="Arial"/>
              </a:rPr>
              <a:t>th</a:t>
            </a:r>
            <a:r>
              <a:rPr lang="en-US" sz="2400">
                <a:latin typeface="Georgia" panose="02040502050405020303" pitchFamily="18" charset="0"/>
                <a:cs typeface="Arial"/>
              </a:rPr>
              <a:t> September 2020</a:t>
            </a:r>
            <a:br>
              <a:rPr lang="en-US" sz="2400">
                <a:latin typeface="Georgia" panose="02040502050405020303" pitchFamily="18" charset="0"/>
                <a:cs typeface="Arial"/>
              </a:rPr>
            </a:br>
            <a:endParaRPr lang="en-US">
              <a:latin typeface="Georgia" panose="02040502050405020303" pitchFamily="18" charset="0"/>
              <a:ea typeface="+mj-lt"/>
              <a:cs typeface="+mj-lt"/>
            </a:endParaRPr>
          </a:p>
        </p:txBody>
      </p:sp>
      <p:pic>
        <p:nvPicPr>
          <p:cNvPr id="7" name="Picture 6" descr="CBS Logo RGB A5.jpg">
            <a:extLst>
              <a:ext uri="{FF2B5EF4-FFF2-40B4-BE49-F238E27FC236}">
                <a16:creationId xmlns:a16="http://schemas.microsoft.com/office/drawing/2014/main" id="{57B9112C-DCAC-476A-81C1-01D2D5AFD60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236" y="1456267"/>
            <a:ext cx="4195251" cy="1270534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D0C4933-03DE-40A6-9212-57AC4687FB6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4350" y="4730049"/>
            <a:ext cx="8140700" cy="1270534"/>
          </a:xfrm>
        </p:spPr>
        <p:txBody>
          <a:bodyPr/>
          <a:lstStyle/>
          <a:p>
            <a:r>
              <a:rPr lang="en-US" sz="2400">
                <a:latin typeface="Georgia" panose="02040502050405020303" pitchFamily="18" charset="0"/>
              </a:rPr>
              <a:t>Allen Coates</a:t>
            </a:r>
          </a:p>
          <a:p>
            <a:r>
              <a:rPr lang="en-US" sz="2400">
                <a:latin typeface="Georgia" panose="02040502050405020303" pitchFamily="18" charset="0"/>
              </a:rPr>
              <a:t>Rob Kent </a:t>
            </a:r>
          </a:p>
          <a:p>
            <a:r>
              <a:rPr lang="en-US" sz="2400">
                <a:latin typeface="Georgia" panose="02040502050405020303" pitchFamily="18" charset="0"/>
              </a:rPr>
              <a:t>Rachel Liu</a:t>
            </a:r>
            <a:endParaRPr lang="en-GB" sz="2400">
              <a:latin typeface="Georgia" panose="020405020504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34033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9631AED7-5EFE-4577-9CED-55B7966F038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6" imgW="230" imgH="255" progId="TCLayout.ActiveDocument.1">
                  <p:embed/>
                </p:oleObj>
              </mc:Choice>
              <mc:Fallback>
                <p:oleObj name="think-cell Slide" r:id="rId6" imgW="230" imgH="255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9631AED7-5EFE-4577-9CED-55B7966F03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A6B9781D-03F3-458E-ABF0-BD56F230EE6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GB" sz="1400" b="1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96" name="Picture 95" descr="CBS Logo RGB A5.jpg">
            <a:extLst>
              <a:ext uri="{FF2B5EF4-FFF2-40B4-BE49-F238E27FC236}">
                <a16:creationId xmlns:a16="http://schemas.microsoft.com/office/drawing/2014/main" id="{77D889A8-015C-4C30-9FAA-761C2D8C9EF7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15189" y="308009"/>
            <a:ext cx="1924811" cy="582930"/>
          </a:xfrm>
          <a:prstGeom prst="rect">
            <a:avLst/>
          </a:prstGeom>
        </p:spPr>
      </p:pic>
      <p:sp>
        <p:nvSpPr>
          <p:cNvPr id="8" name="Title 7">
            <a:extLst>
              <a:ext uri="{FF2B5EF4-FFF2-40B4-BE49-F238E27FC236}">
                <a16:creationId xmlns:a16="http://schemas.microsoft.com/office/drawing/2014/main" id="{8CD10A37-A356-4B0D-8591-0CF78C7DC7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Georgia" panose="02040502050405020303" pitchFamily="18" charset="0"/>
              </a:rPr>
              <a:t>Agenda</a:t>
            </a:r>
            <a:endParaRPr lang="en-GB">
              <a:latin typeface="Georgia" panose="02040502050405020303" pitchFamily="18" charset="0"/>
            </a:endParaRP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6D4CD31C-1BBC-44FD-9699-A16685F0B3F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4000" y="1270000"/>
            <a:ext cx="8136000" cy="4716915"/>
          </a:xfrm>
        </p:spPr>
        <p:txBody>
          <a:bodyPr vert="horz" lIns="0" tIns="0" rIns="0" bIns="0" rtlCol="0" anchor="t">
            <a:no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/>
              <a:t>Revised &amp; updated ‘as is’ workflows </a:t>
            </a:r>
            <a:r>
              <a:rPr lang="en-US" sz="2400" i="1"/>
              <a:t>(10min)</a:t>
            </a:r>
            <a:endParaRPr lang="en-US" sz="240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/>
              <a:t>An initial build on XLR using manual tasks modelling </a:t>
            </a:r>
            <a:r>
              <a:rPr lang="en-US" sz="2400" i="1"/>
              <a:t>(10min)</a:t>
            </a:r>
            <a:endParaRPr lang="en-US" sz="240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/>
              <a:t>An initial view on the ‘to be’ target state design </a:t>
            </a:r>
            <a:r>
              <a:rPr lang="en-US" sz="2400" i="1"/>
              <a:t>(20min)</a:t>
            </a:r>
            <a:endParaRPr lang="en-US" sz="240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/>
              <a:t>Implementation Plan </a:t>
            </a:r>
            <a:r>
              <a:rPr lang="en-US" sz="2400" i="1"/>
              <a:t>(20min)</a:t>
            </a:r>
            <a:endParaRPr lang="en-US" sz="240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/>
              <a:t>Additional requiremen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/>
              <a:t>Q &amp; A on the orchestration tool </a:t>
            </a:r>
          </a:p>
          <a:p>
            <a:endParaRPr lang="en-GB" sz="2400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BA099211-F853-47AA-A79E-9DDE2766A0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2020  |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94C6529D-C76C-4D8D-B211-C1AA7BD668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CC7E1B-4CD5-4B27-B5EB-7981BC3B78B5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5619163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9631AED7-5EFE-4577-9CED-55B7966F038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Slide" r:id="rId6" imgW="230" imgH="255" progId="TCLayout.ActiveDocument.1">
                  <p:embed/>
                </p:oleObj>
              </mc:Choice>
              <mc:Fallback>
                <p:oleObj name="think-cell Slide" r:id="rId6" imgW="230" imgH="255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9631AED7-5EFE-4577-9CED-55B7966F03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A6B9781D-03F3-458E-ABF0-BD56F230EE6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GB" sz="1400" b="1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CD10A37-A356-4B0D-8591-0CF78C7DC7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308010"/>
            <a:ext cx="8136763" cy="582930"/>
          </a:xfrm>
        </p:spPr>
        <p:txBody>
          <a:bodyPr/>
          <a:lstStyle/>
          <a:p>
            <a:r>
              <a:rPr lang="en-US" sz="2400">
                <a:latin typeface="Georgia" panose="02040502050405020303" pitchFamily="18" charset="0"/>
              </a:rPr>
              <a:t>Current Process within Dev’s .NET MSI Daily Build Release</a:t>
            </a:r>
            <a:endParaRPr lang="en-GB" sz="2400">
              <a:latin typeface="Georgia" panose="02040502050405020303" pitchFamily="18" charset="0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25E7CF5-2913-492F-8F45-827649CFB3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2020  |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DCC3B2C-7300-4FBF-A9C8-2270F2A666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CC7E1B-4CD5-4B27-B5EB-7981BC3B78B5}" type="slidenum">
              <a:rPr lang="en-GB" smtClean="0"/>
              <a:t>3</a:t>
            </a:fld>
            <a:endParaRPr lang="en-GB"/>
          </a:p>
        </p:txBody>
      </p:sp>
      <p:pic>
        <p:nvPicPr>
          <p:cNvPr id="9" name="Picture 9" descr="A close up of a map&#10;&#10;Description automatically generated">
            <a:extLst>
              <a:ext uri="{FF2B5EF4-FFF2-40B4-BE49-F238E27FC236}">
                <a16:creationId xmlns:a16="http://schemas.microsoft.com/office/drawing/2014/main" id="{55B00C03-45F7-4D51-8EDC-CDADFFD41BD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8"/>
          <a:stretch>
            <a:fillRect/>
          </a:stretch>
        </p:blipFill>
        <p:spPr>
          <a:xfrm>
            <a:off x="377825" y="1027290"/>
            <a:ext cx="8262938" cy="5284610"/>
          </a:xfrm>
        </p:spPr>
      </p:pic>
    </p:spTree>
    <p:extLst>
      <p:ext uri="{BB962C8B-B14F-4D97-AF65-F5344CB8AC3E}">
        <p14:creationId xmlns:p14="http://schemas.microsoft.com/office/powerpoint/2010/main" val="273397333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9631AED7-5EFE-4577-9CED-55B7966F038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think-cell Slide" r:id="rId6" imgW="230" imgH="255" progId="TCLayout.ActiveDocument.1">
                  <p:embed/>
                </p:oleObj>
              </mc:Choice>
              <mc:Fallback>
                <p:oleObj name="think-cell Slide" r:id="rId6" imgW="230" imgH="255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9631AED7-5EFE-4577-9CED-55B7966F03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A6B9781D-03F3-458E-ABF0-BD56F230EE6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GB" sz="1400" b="1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CD10A37-A356-4B0D-8591-0CF78C7DC7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6699" y="288155"/>
            <a:ext cx="8136001" cy="582930"/>
          </a:xfrm>
        </p:spPr>
        <p:txBody>
          <a:bodyPr/>
          <a:lstStyle/>
          <a:p>
            <a:r>
              <a:rPr lang="en-US" sz="2400">
                <a:latin typeface="Georgia" panose="02040502050405020303" pitchFamily="18" charset="0"/>
              </a:rPr>
              <a:t>Target State Design for Dev’s .NET MSI Daily Build Release </a:t>
            </a:r>
            <a:br>
              <a:rPr lang="en-US" sz="2400">
                <a:latin typeface="Georgia" panose="02040502050405020303" pitchFamily="18" charset="0"/>
              </a:rPr>
            </a:br>
            <a:r>
              <a:rPr lang="en-US" sz="2000">
                <a:latin typeface="Georgia" panose="02040502050405020303" pitchFamily="18" charset="0"/>
              </a:rPr>
              <a:t>(</a:t>
            </a:r>
            <a:r>
              <a:rPr lang="en-US" sz="1800">
                <a:latin typeface="Georgia" panose="02040502050405020303" pitchFamily="18" charset="0"/>
              </a:rPr>
              <a:t>Draft)</a:t>
            </a:r>
            <a:endParaRPr lang="en-GB" sz="2400">
              <a:latin typeface="Georgia" panose="02040502050405020303" pitchFamily="18" charset="0"/>
            </a:endParaRPr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18AD9ABC-B217-4B1D-9781-BDEC337952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2020  |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0278E32A-A45F-4520-992B-2CF957CB9C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CC7E1B-4CD5-4B27-B5EB-7981BC3B78B5}" type="slidenum">
              <a:rPr lang="en-GB" smtClean="0"/>
              <a:t>4</a:t>
            </a:fld>
            <a:endParaRPr lang="en-GB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24CCE9D-601A-45AD-AF63-6E8E885A077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77825" y="871085"/>
            <a:ext cx="8274876" cy="5440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017927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F5C65F-B25F-402D-B4A7-D6B3B0053E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>
                <a:latin typeface="Georgia"/>
                <a:cs typeface="Arial"/>
              </a:rPr>
              <a:t>Bridge the Gap: Jira – ServiceNow 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908D8A0-19D3-4C6C-9CA5-996F5CAD15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2020  |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571FCE6-AC10-4A99-B73D-7237629CB7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CC7E1B-4CD5-4B27-B5EB-7981BC3B78B5}" type="slidenum">
              <a:rPr lang="en-GB" smtClean="0"/>
              <a:t>5</a:t>
            </a:fld>
            <a:endParaRPr lang="en-GB"/>
          </a:p>
        </p:txBody>
      </p:sp>
      <p:pic>
        <p:nvPicPr>
          <p:cNvPr id="6" name="Picture 6" descr="A screenshot of a cell phone&#10;&#10;Description automatically generated">
            <a:extLst>
              <a:ext uri="{FF2B5EF4-FFF2-40B4-BE49-F238E27FC236}">
                <a16:creationId xmlns:a16="http://schemas.microsoft.com/office/drawing/2014/main" id="{3DD46AB6-B291-40EE-BC0F-9F6F6F88513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7958" y="751118"/>
            <a:ext cx="7891756" cy="564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440741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9631AED7-5EFE-4577-9CED-55B7966F038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4" name="think-cell Slide" r:id="rId6" imgW="230" imgH="255" progId="TCLayout.ActiveDocument.1">
                  <p:embed/>
                </p:oleObj>
              </mc:Choice>
              <mc:Fallback>
                <p:oleObj name="think-cell Slide" r:id="rId6" imgW="230" imgH="255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9631AED7-5EFE-4577-9CED-55B7966F03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A6B9781D-03F3-458E-ABF0-BD56F230EE6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GB" sz="1400" b="1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96" name="Picture 95" descr="CBS Logo RGB A5.jpg">
            <a:extLst>
              <a:ext uri="{FF2B5EF4-FFF2-40B4-BE49-F238E27FC236}">
                <a16:creationId xmlns:a16="http://schemas.microsoft.com/office/drawing/2014/main" id="{77D889A8-015C-4C30-9FAA-761C2D8C9EF7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15189" y="308009"/>
            <a:ext cx="1924811" cy="582930"/>
          </a:xfrm>
          <a:prstGeom prst="rect">
            <a:avLst/>
          </a:prstGeom>
        </p:spPr>
      </p:pic>
      <p:sp>
        <p:nvSpPr>
          <p:cNvPr id="8" name="Title 7">
            <a:extLst>
              <a:ext uri="{FF2B5EF4-FFF2-40B4-BE49-F238E27FC236}">
                <a16:creationId xmlns:a16="http://schemas.microsoft.com/office/drawing/2014/main" id="{8CD10A37-A356-4B0D-8591-0CF78C7DC7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Georgia"/>
              </a:rPr>
              <a:t>Continuous Improvement </a:t>
            </a:r>
            <a:endParaRPr lang="en-US">
              <a:latin typeface="Georgia" panose="02040502050405020303" pitchFamily="18" charset="0"/>
            </a:endParaRP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6D4CD31C-1BBC-44FD-9699-A16685F0B3F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4000" y="1270000"/>
            <a:ext cx="8136000" cy="4716915"/>
          </a:xfrm>
        </p:spPr>
        <p:txBody>
          <a:bodyPr vert="horz" lIns="0" tIns="0" rIns="0" bIns="0" rtlCol="0" anchor="t">
            <a:noAutofit/>
          </a:bodyPr>
          <a:lstStyle/>
          <a:p>
            <a:endParaRPr lang="en-GB" sz="2400">
              <a:cs typeface="Arial"/>
            </a:endParaRPr>
          </a:p>
          <a:p>
            <a:pPr marL="342900" indent="-342900">
              <a:buFont typeface="Arial"/>
              <a:buChar char="•"/>
            </a:pPr>
            <a:endParaRPr lang="en-GB" sz="2400">
              <a:cs typeface="Arial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9FD3B56-009B-42D9-8C06-DEFC7951F3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2020  |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95E771F-C01A-4177-B5F1-D78ABDCD8A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CC7E1B-4CD5-4B27-B5EB-7981BC3B78B5}" type="slidenum">
              <a:rPr lang="en-GB" smtClean="0"/>
              <a:t>6</a:t>
            </a:fld>
            <a:endParaRPr lang="en-GB"/>
          </a:p>
        </p:txBody>
      </p:sp>
      <p:sp>
        <p:nvSpPr>
          <p:cNvPr id="2" name="Content Placeholder 9">
            <a:extLst>
              <a:ext uri="{FF2B5EF4-FFF2-40B4-BE49-F238E27FC236}">
                <a16:creationId xmlns:a16="http://schemas.microsoft.com/office/drawing/2014/main" id="{D6B0214B-CDDD-4DCF-87AA-98803145C166}"/>
              </a:ext>
            </a:extLst>
          </p:cNvPr>
          <p:cNvSpPr txBox="1">
            <a:spLocks/>
          </p:cNvSpPr>
          <p:nvPr/>
        </p:nvSpPr>
        <p:spPr>
          <a:xfrm>
            <a:off x="504674" y="1311134"/>
            <a:ext cx="8136000" cy="471691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8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463" indent="-144463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12725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76300" indent="-144463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31900" indent="-201613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2400">
              <a:cs typeface="Arial"/>
            </a:endParaRPr>
          </a:p>
          <a:p>
            <a:pPr marL="342900" indent="-342900">
              <a:buFont typeface="Arial,Sans-Serif"/>
              <a:buChar char="•"/>
            </a:pPr>
            <a:r>
              <a:rPr lang="en-GB" sz="2400">
                <a:ea typeface="+mn-lt"/>
                <a:cs typeface="+mn-lt"/>
              </a:rPr>
              <a:t>Baseline in Production to identify bottlenecks and opportunities for improvements</a:t>
            </a:r>
          </a:p>
          <a:p>
            <a:pPr marL="342900" indent="-342900">
              <a:buFont typeface="Arial,Sans-Serif"/>
              <a:buChar char="•"/>
            </a:pPr>
            <a:r>
              <a:rPr lang="en-GB" sz="2400">
                <a:ea typeface="+mn-lt"/>
                <a:cs typeface="+mn-lt"/>
              </a:rPr>
              <a:t>Focus predominately of shift left/faster feedback and velocity improvements</a:t>
            </a:r>
          </a:p>
          <a:p>
            <a:pPr marL="342900" indent="-342900">
              <a:buFont typeface="Arial,Sans-Serif"/>
              <a:buChar char="•"/>
            </a:pPr>
            <a:r>
              <a:rPr lang="en-GB" sz="2400">
                <a:ea typeface="+mn-lt"/>
                <a:cs typeface="+mn-lt"/>
              </a:rPr>
              <a:t>Expand number of integrations to increase opportunities for automation</a:t>
            </a:r>
          </a:p>
          <a:p>
            <a:pPr marL="342900" indent="-342900">
              <a:buFont typeface="Arial,Sans-Serif"/>
              <a:buChar char="•"/>
            </a:pPr>
            <a:r>
              <a:rPr lang="en-GB" sz="2400">
                <a:ea typeface="+mn-lt"/>
                <a:cs typeface="+mn-lt"/>
              </a:rPr>
              <a:t>Longer term automation of end to end release activities from Development to Production</a:t>
            </a:r>
          </a:p>
          <a:p>
            <a:pPr marL="342900" indent="-342900">
              <a:buFont typeface="Arial,Sans-Serif"/>
              <a:buChar char="•"/>
            </a:pPr>
            <a:endParaRPr lang="en-GB" sz="2400">
              <a:cs typeface="Arial"/>
            </a:endParaRPr>
          </a:p>
          <a:p>
            <a:pPr marL="342900" indent="-342900">
              <a:buFont typeface="Arial,Sans-Serif"/>
              <a:buChar char="•"/>
            </a:pPr>
            <a:endParaRPr lang="en-GB" sz="2400">
              <a:cs typeface="Arial"/>
            </a:endParaRPr>
          </a:p>
          <a:p>
            <a:pPr marL="342900" indent="-342900">
              <a:buFont typeface="Arial,Sans-Serif"/>
              <a:buChar char="•"/>
            </a:pPr>
            <a:endParaRPr lang="en-GB" sz="2400">
              <a:cs typeface="Arial"/>
            </a:endParaRPr>
          </a:p>
          <a:p>
            <a:pPr marL="342900" indent="-342900">
              <a:buFont typeface="Arial,Sans-Serif"/>
              <a:buChar char="•"/>
            </a:pPr>
            <a:endParaRPr lang="en-GB" sz="2400">
              <a:cs typeface="Arial"/>
            </a:endParaRPr>
          </a:p>
          <a:p>
            <a:endParaRPr lang="en-GB" sz="2400">
              <a:cs typeface="Arial"/>
            </a:endParaRPr>
          </a:p>
          <a:p>
            <a:endParaRPr lang="en-GB" sz="2400">
              <a:cs typeface="Arial"/>
            </a:endParaRPr>
          </a:p>
          <a:p>
            <a:endParaRPr lang="en-GB" sz="240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3631133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9631AED7-5EFE-4577-9CED-55B7966F038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2" name="think-cell Slide" r:id="rId6" imgW="230" imgH="255" progId="TCLayout.ActiveDocument.1">
                  <p:embed/>
                </p:oleObj>
              </mc:Choice>
              <mc:Fallback>
                <p:oleObj name="think-cell Slide" r:id="rId6" imgW="230" imgH="255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9631AED7-5EFE-4577-9CED-55B7966F03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A6B9781D-03F3-458E-ABF0-BD56F230EE6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GB" sz="1400" b="1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96" name="Picture 95" descr="CBS Logo RGB A5.jpg">
            <a:extLst>
              <a:ext uri="{FF2B5EF4-FFF2-40B4-BE49-F238E27FC236}">
                <a16:creationId xmlns:a16="http://schemas.microsoft.com/office/drawing/2014/main" id="{77D889A8-015C-4C30-9FAA-761C2D8C9EF7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15189" y="308009"/>
            <a:ext cx="1924811" cy="582930"/>
          </a:xfrm>
          <a:prstGeom prst="rect">
            <a:avLst/>
          </a:prstGeom>
        </p:spPr>
      </p:pic>
      <p:sp>
        <p:nvSpPr>
          <p:cNvPr id="8" name="Title 7">
            <a:extLst>
              <a:ext uri="{FF2B5EF4-FFF2-40B4-BE49-F238E27FC236}">
                <a16:creationId xmlns:a16="http://schemas.microsoft.com/office/drawing/2014/main" id="{8CD10A37-A356-4B0D-8591-0CF78C7DC7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Georgia"/>
              </a:rPr>
              <a:t>Implementation – Next Steps</a:t>
            </a:r>
            <a:endParaRPr lang="en-US">
              <a:latin typeface="Georgia" panose="02040502050405020303" pitchFamily="18" charset="0"/>
            </a:endParaRP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6D4CD31C-1BBC-44FD-9699-A16685F0B3F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4000" y="1270000"/>
            <a:ext cx="8136000" cy="4716915"/>
          </a:xfrm>
        </p:spPr>
        <p:txBody>
          <a:bodyPr vert="horz" lIns="0" tIns="0" rIns="0" bIns="0" rtlCol="0" anchor="t">
            <a:noAutofit/>
          </a:bodyPr>
          <a:lstStyle/>
          <a:p>
            <a:endParaRPr lang="en-GB" sz="2400">
              <a:cs typeface="Arial"/>
            </a:endParaRPr>
          </a:p>
          <a:p>
            <a:pPr marL="342900" indent="-342900">
              <a:buFont typeface="Arial,Sans-Serif"/>
              <a:buChar char="•"/>
            </a:pPr>
            <a:r>
              <a:rPr lang="en-GB" sz="2400">
                <a:ea typeface="+mn-lt"/>
                <a:cs typeface="+mn-lt"/>
              </a:rPr>
              <a:t>XLR Test and Prod Infrastructure Deployments*</a:t>
            </a:r>
          </a:p>
          <a:p>
            <a:pPr marL="342900" indent="-342900">
              <a:buFont typeface="Arial,Sans-Serif"/>
              <a:buChar char="•"/>
            </a:pPr>
            <a:r>
              <a:rPr lang="en-GB" sz="2400">
                <a:ea typeface="+mn-lt"/>
                <a:cs typeface="+mn-lt"/>
              </a:rPr>
              <a:t>Jira Versioning/Release Issue to track Metadata</a:t>
            </a:r>
          </a:p>
          <a:p>
            <a:pPr marL="342900" indent="-342900">
              <a:buFont typeface="Arial,Sans-Serif"/>
              <a:buChar char="•"/>
            </a:pPr>
            <a:r>
              <a:rPr lang="en-GB" sz="2400">
                <a:ea typeface="+mn-lt"/>
                <a:cs typeface="+mn-lt"/>
              </a:rPr>
              <a:t>Github Integration*</a:t>
            </a:r>
          </a:p>
          <a:p>
            <a:pPr marL="342900" indent="-342900">
              <a:buFont typeface="Arial,Sans-Serif"/>
              <a:buChar char="•"/>
            </a:pPr>
            <a:r>
              <a:rPr lang="en-GB" sz="2400">
                <a:ea typeface="+mn-lt"/>
                <a:cs typeface="+mn-lt"/>
              </a:rPr>
              <a:t>ServiceNow Integration*</a:t>
            </a:r>
          </a:p>
          <a:p>
            <a:pPr marL="342900" indent="-342900">
              <a:buFont typeface="Arial,Sans-Serif"/>
              <a:buChar char="•"/>
            </a:pPr>
            <a:r>
              <a:rPr lang="en-GB" sz="2400">
                <a:ea typeface="+mn-lt"/>
                <a:cs typeface="+mn-lt"/>
              </a:rPr>
              <a:t>GoCD Plugin*</a:t>
            </a:r>
            <a:endParaRPr lang="en-US" sz="2400">
              <a:ea typeface="+mn-lt"/>
              <a:cs typeface="+mn-lt"/>
            </a:endParaRPr>
          </a:p>
          <a:p>
            <a:pPr marL="342900" indent="-342900">
              <a:buFont typeface="Arial,Sans-Serif"/>
              <a:buChar char="•"/>
            </a:pPr>
            <a:r>
              <a:rPr lang="en-GB" sz="2400">
                <a:ea typeface="+mn-lt"/>
                <a:cs typeface="+mn-lt"/>
              </a:rPr>
              <a:t>GoCD Integration*</a:t>
            </a:r>
          </a:p>
          <a:p>
            <a:pPr marL="342900" indent="-342900">
              <a:buFont typeface="Arial,Sans-Serif"/>
              <a:buChar char="•"/>
            </a:pPr>
            <a:r>
              <a:rPr lang="en-GB" sz="2400">
                <a:ea typeface="+mn-lt"/>
                <a:cs typeface="+mn-lt"/>
              </a:rPr>
              <a:t>Release/Feature Mapping from Jira et al to ServiceNow</a:t>
            </a:r>
            <a:endParaRPr lang="en-US" sz="2400">
              <a:ea typeface="+mn-lt"/>
              <a:cs typeface="+mn-lt"/>
            </a:endParaRPr>
          </a:p>
          <a:p>
            <a:endParaRPr lang="en-GB" sz="2400">
              <a:ea typeface="+mn-lt"/>
              <a:cs typeface="+mn-lt"/>
            </a:endParaRPr>
          </a:p>
          <a:p>
            <a:r>
              <a:rPr lang="en-GB" sz="2400">
                <a:ea typeface="+mn-lt"/>
                <a:cs typeface="+mn-lt"/>
              </a:rPr>
              <a:t>*In Progress</a:t>
            </a:r>
            <a:endParaRPr lang="en-GB"/>
          </a:p>
          <a:p>
            <a:endParaRPr lang="en-GB" sz="2400">
              <a:cs typeface="Arial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B44768A-CE90-4CCA-8E71-5143642F83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2020  |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2F4FA3E-0395-4969-BAF3-6C305C1036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CC7E1B-4CD5-4B27-B5EB-7981BC3B78B5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6664988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9631AED7-5EFE-4577-9CED-55B7966F038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0" name="think-cell Slide" r:id="rId6" imgW="230" imgH="255" progId="TCLayout.ActiveDocument.1">
                  <p:embed/>
                </p:oleObj>
              </mc:Choice>
              <mc:Fallback>
                <p:oleObj name="think-cell Slide" r:id="rId6" imgW="230" imgH="255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9631AED7-5EFE-4577-9CED-55B7966F03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A6B9781D-03F3-458E-ABF0-BD56F230EE6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GB" sz="1400" b="1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96" name="Picture 95" descr="CBS Logo RGB A5.jpg">
            <a:extLst>
              <a:ext uri="{FF2B5EF4-FFF2-40B4-BE49-F238E27FC236}">
                <a16:creationId xmlns:a16="http://schemas.microsoft.com/office/drawing/2014/main" id="{77D889A8-015C-4C30-9FAA-761C2D8C9EF7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15189" y="308009"/>
            <a:ext cx="1924811" cy="582930"/>
          </a:xfrm>
          <a:prstGeom prst="rect">
            <a:avLst/>
          </a:prstGeom>
        </p:spPr>
      </p:pic>
      <p:sp>
        <p:nvSpPr>
          <p:cNvPr id="8" name="Title 7">
            <a:extLst>
              <a:ext uri="{FF2B5EF4-FFF2-40B4-BE49-F238E27FC236}">
                <a16:creationId xmlns:a16="http://schemas.microsoft.com/office/drawing/2014/main" id="{8CD10A37-A356-4B0D-8591-0CF78C7DC7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>
                <a:latin typeface="Georgia"/>
              </a:rPr>
              <a:t>Q &amp; A on XLR the Orchestration Tool</a:t>
            </a:r>
            <a:endParaRPr lang="en-US" sz="2800">
              <a:latin typeface="Georgia" panose="02040502050405020303" pitchFamily="18" charset="0"/>
            </a:endParaRP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6D4CD31C-1BBC-44FD-9699-A16685F0B3F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4000" y="1270000"/>
            <a:ext cx="8136000" cy="4716915"/>
          </a:xfrm>
        </p:spPr>
        <p:txBody>
          <a:bodyPr vert="horz" lIns="0" tIns="0" rIns="0" bIns="0" rtlCol="0" anchor="t">
            <a:noAutofit/>
          </a:bodyPr>
          <a:lstStyle/>
          <a:p>
            <a:endParaRPr lang="en-GB" sz="2000">
              <a:cs typeface="Arial"/>
            </a:endParaRPr>
          </a:p>
          <a:p>
            <a:pPr marL="342900" indent="-342900">
              <a:buFont typeface="Arial"/>
              <a:buChar char="•"/>
            </a:pPr>
            <a:r>
              <a:rPr lang="en-GB" sz="2000">
                <a:ea typeface="+mn-lt"/>
                <a:cs typeface="+mn-lt"/>
              </a:rPr>
              <a:t>Helps Developers to stay in the Jira world and allows Service/Change/Release Management to stay in the ServiceNow world</a:t>
            </a:r>
            <a:endParaRPr lang="en-GB" sz="2000">
              <a:cs typeface="Arial"/>
            </a:endParaRPr>
          </a:p>
          <a:p>
            <a:pPr marL="342900" indent="-342900">
              <a:buFont typeface="Arial"/>
              <a:buChar char="•"/>
            </a:pPr>
            <a:r>
              <a:rPr lang="en-GB" sz="2000">
                <a:cs typeface="Arial"/>
              </a:rPr>
              <a:t>Bridges the gap between Jira and ServiceNow – allows automatic creation/updating of ServiceNow data and/or related Jira issues</a:t>
            </a:r>
          </a:p>
          <a:p>
            <a:pPr marL="342900" indent="-342900">
              <a:buFont typeface="Arial"/>
              <a:buChar char="•"/>
            </a:pPr>
            <a:r>
              <a:rPr lang="en-GB" sz="2000">
                <a:cs typeface="Arial"/>
              </a:rPr>
              <a:t>Provides the ability to track components/applications through the development &amp; release life cycle</a:t>
            </a:r>
          </a:p>
          <a:p>
            <a:pPr marL="342900" indent="-342900">
              <a:buFont typeface="Arial"/>
              <a:buChar char="•"/>
            </a:pPr>
            <a:r>
              <a:rPr lang="en-GB" sz="2000">
                <a:cs typeface="Arial"/>
              </a:rPr>
              <a:t>Initially, we treat areas as black boxes to just obtain metrics</a:t>
            </a:r>
          </a:p>
          <a:p>
            <a:pPr marL="342900" indent="-342900">
              <a:buFont typeface="Arial"/>
              <a:buChar char="•"/>
            </a:pPr>
            <a:r>
              <a:rPr lang="en-GB" sz="2000">
                <a:cs typeface="Arial"/>
              </a:rPr>
              <a:t>Overtime, we make the black boxes more transparent to gain more visibility</a:t>
            </a:r>
          </a:p>
          <a:p>
            <a:pPr marL="342900" indent="-342900">
              <a:buFont typeface="Arial"/>
              <a:buChar char="•"/>
            </a:pPr>
            <a:r>
              <a:rPr lang="en-GB" sz="2000">
                <a:cs typeface="Arial"/>
              </a:rPr>
              <a:t>More metrics allows focused improvements</a:t>
            </a:r>
          </a:p>
          <a:p>
            <a:pPr marL="342900" indent="-342900">
              <a:buFont typeface="Arial"/>
              <a:buChar char="•"/>
            </a:pPr>
            <a:endParaRPr lang="en-GB" sz="2000">
              <a:cs typeface="Arial"/>
            </a:endParaRPr>
          </a:p>
          <a:p>
            <a:endParaRPr lang="en-GB" sz="2000">
              <a:cs typeface="Arial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9A7918-F217-4CC3-8226-3D29274C08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2020  |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9A45420-1D0F-42A6-8DFA-06CFDF8CBB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CC7E1B-4CD5-4B27-B5EB-7981BC3B78B5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573904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E34DC0A-FCD5-4D6F-903C-AF192D355A8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03239" y="3459515"/>
            <a:ext cx="8137525" cy="671686"/>
          </a:xfrm>
        </p:spPr>
        <p:txBody>
          <a:bodyPr/>
          <a:lstStyle/>
          <a:p>
            <a:r>
              <a:rPr lang="en-US">
                <a:latin typeface="Georgia" panose="02040502050405020303" pitchFamily="18" charset="0"/>
                <a:ea typeface="+mj-lt"/>
                <a:cs typeface="+mj-lt"/>
              </a:rPr>
              <a:t>Thank you.</a:t>
            </a:r>
          </a:p>
        </p:txBody>
      </p:sp>
      <p:pic>
        <p:nvPicPr>
          <p:cNvPr id="7" name="Picture 6" descr="CBS Logo RGB A5.jpg">
            <a:extLst>
              <a:ext uri="{FF2B5EF4-FFF2-40B4-BE49-F238E27FC236}">
                <a16:creationId xmlns:a16="http://schemas.microsoft.com/office/drawing/2014/main" id="{57B9112C-DCAC-476A-81C1-01D2D5AFD60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236" y="1456267"/>
            <a:ext cx="4195251" cy="12705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53316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30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2&quot;&gt;&lt;elem m_fUsage=&quot;1.00000000000000000000E+00&quot;&gt;&lt;m_msothmcolidx val=&quot;0&quot;/&gt;&lt;m_rgb r=&quot;EA&quot; g=&quot;FD&quot; b=&quot;FF&quot;/&gt;&lt;m_nBrightness endver=&quot;26206&quot; val=&quot;0&quot;/&gt;&lt;/elem&gt;&lt;elem m_fUsage=&quot;9.00000000000000022204E-01&quot;&gt;&lt;m_msothmcolidx val=&quot;0&quot;/&gt;&lt;m_rgb r=&quot;D2&quot; g=&quot;FB&quot; b=&quot;FF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U4IN4ODFSNS3FqyfCVx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U4IN4ODFSNS3FqyfCVx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U4IN4ODFSNS3FqyfCVx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.60k.z2WuP7ymr3s3zv4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U4IN4ODFSNS3FqyfCVx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U4IN4ODFSNS3FqyfCVx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U4IN4ODFSNS3FqyfCVxQ"/>
</p:tagLst>
</file>

<file path=ppt/theme/theme1.xml><?xml version="1.0" encoding="utf-8"?>
<a:theme xmlns:a="http://schemas.openxmlformats.org/drawingml/2006/main" name="Mozaic New">
  <a:themeElements>
    <a:clrScheme name="Mozaic">
      <a:dk1>
        <a:srgbClr val="12224D"/>
      </a:dk1>
      <a:lt1>
        <a:srgbClr val="FFFFFF"/>
      </a:lt1>
      <a:dk2>
        <a:srgbClr val="12224D"/>
      </a:dk2>
      <a:lt2>
        <a:srgbClr val="E6E6E6"/>
      </a:lt2>
      <a:accent1>
        <a:srgbClr val="3CEBFF"/>
      </a:accent1>
      <a:accent2>
        <a:srgbClr val="12224D"/>
      </a:accent2>
      <a:accent3>
        <a:srgbClr val="E6E6E6"/>
      </a:accent3>
      <a:accent4>
        <a:srgbClr val="B1F7FF"/>
      </a:accent4>
      <a:accent5>
        <a:srgbClr val="4D597A"/>
      </a:accent5>
      <a:accent6>
        <a:srgbClr val="ADADAD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6350">
          <a:solidFill>
            <a:schemeClr val="tx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54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lnSpc>
            <a:spcPct val="95000"/>
          </a:lnSpc>
          <a:defRPr sz="12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Mozaic Intro Deck for Paul Jones 17012020" id="{5DE5936E-B9D3-5748-8FCD-22629BD0B653}" vid="{316D563F-1CEC-A744-A7FB-9053650EB47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ce2cf30b-9dbe-4df8-9e3e-c70ce3fe2656">
      <UserInfo>
        <DisplayName>Allen Coates</DisplayName>
        <AccountId>982</AccountId>
        <AccountType/>
      </UserInfo>
      <UserInfo>
        <DisplayName>Rob Kent</DisplayName>
        <AccountId>1056</AccountId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F06110FA695F2479F1EB3A760098065" ma:contentTypeVersion="10" ma:contentTypeDescription="Create a new document." ma:contentTypeScope="" ma:versionID="2c07d92992d051ce836c379e501de68a">
  <xsd:schema xmlns:xsd="http://www.w3.org/2001/XMLSchema" xmlns:xs="http://www.w3.org/2001/XMLSchema" xmlns:p="http://schemas.microsoft.com/office/2006/metadata/properties" xmlns:ns2="8a52179a-c1e3-46ed-856d-d98a23eabbe7" xmlns:ns3="ce2cf30b-9dbe-4df8-9e3e-c70ce3fe2656" targetNamespace="http://schemas.microsoft.com/office/2006/metadata/properties" ma:root="true" ma:fieldsID="979f07dec9680fc3429aebb962983714" ns2:_="" ns3:_="">
    <xsd:import namespace="8a52179a-c1e3-46ed-856d-d98a23eabbe7"/>
    <xsd:import namespace="ce2cf30b-9dbe-4df8-9e3e-c70ce3fe265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a52179a-c1e3-46ed-856d-d98a23eabbe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e2cf30b-9dbe-4df8-9e3e-c70ce3fe2656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BB88777-2979-4112-B981-8D24C5ECCDAC}">
  <ds:schemaRefs>
    <ds:schemaRef ds:uri="http://schemas.microsoft.com/office/2006/documentManagement/types"/>
    <ds:schemaRef ds:uri="http://www.w3.org/XML/1998/namespace"/>
    <ds:schemaRef ds:uri="http://purl.org/dc/terms/"/>
    <ds:schemaRef ds:uri="ce2cf30b-9dbe-4df8-9e3e-c70ce3fe2656"/>
    <ds:schemaRef ds:uri="http://purl.org/dc/dcmitype/"/>
    <ds:schemaRef ds:uri="http://schemas.microsoft.com/office/2006/metadata/properties"/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8a52179a-c1e3-46ed-856d-d98a23eabbe7"/>
  </ds:schemaRefs>
</ds:datastoreItem>
</file>

<file path=customXml/itemProps2.xml><?xml version="1.0" encoding="utf-8"?>
<ds:datastoreItem xmlns:ds="http://schemas.openxmlformats.org/officeDocument/2006/customXml" ds:itemID="{00C80687-5830-4521-A627-C0611A841A86}">
  <ds:schemaRefs>
    <ds:schemaRef ds:uri="8a52179a-c1e3-46ed-856d-d98a23eabbe7"/>
    <ds:schemaRef ds:uri="ce2cf30b-9dbe-4df8-9e3e-c70ce3fe2656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1A34A142-C17D-49A8-8001-FD90264FC34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ozaic New</Template>
  <TotalTime>0</TotalTime>
  <Words>326</Words>
  <Application>Microsoft Macintosh PowerPoint</Application>
  <PresentationFormat>On-screen Show (4:3)</PresentationFormat>
  <Paragraphs>67</Paragraphs>
  <Slides>9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5" baseType="lpstr">
      <vt:lpstr>Arial</vt:lpstr>
      <vt:lpstr>Arial,Sans-Serif</vt:lpstr>
      <vt:lpstr>Calibri</vt:lpstr>
      <vt:lpstr>Georgia</vt:lpstr>
      <vt:lpstr>Mozaic New</vt:lpstr>
      <vt:lpstr>think-cell Slide</vt:lpstr>
      <vt:lpstr>Dev &amp; Build Process Design 9th September 2020 </vt:lpstr>
      <vt:lpstr>Agenda</vt:lpstr>
      <vt:lpstr>Current Process within Dev’s .NET MSI Daily Build Release</vt:lpstr>
      <vt:lpstr>Target State Design for Dev’s .NET MSI Daily Build Release  (Draft)</vt:lpstr>
      <vt:lpstr>Bridge the Gap: Jira – ServiceNow </vt:lpstr>
      <vt:lpstr>Continuous Improvement </vt:lpstr>
      <vt:lpstr>Implementation – Next Steps</vt:lpstr>
      <vt:lpstr>Q &amp; A on XLR the Orchestration Tool</vt:lpstr>
      <vt:lpstr>Thank you.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gital Service Management A product based operating model</dc:title>
  <dc:subject/>
  <dc:creator>Steve Tuppen</dc:creator>
  <cp:keywords/>
  <dc:description/>
  <cp:lastModifiedBy>Allen Coates</cp:lastModifiedBy>
  <cp:revision>2</cp:revision>
  <cp:lastPrinted>2019-07-11T08:48:42Z</cp:lastPrinted>
  <dcterms:created xsi:type="dcterms:W3CDTF">2020-04-27T09:42:13Z</dcterms:created>
  <dcterms:modified xsi:type="dcterms:W3CDTF">2020-09-09T09:17:38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F06110FA695F2479F1EB3A760098065</vt:lpwstr>
  </property>
</Properties>
</file>